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3" r:id="rId2"/>
  </p:sldMasterIdLst>
  <p:notesMasterIdLst>
    <p:notesMasterId r:id="rId25"/>
  </p:notesMasterIdLst>
  <p:sldIdLst>
    <p:sldId id="575" r:id="rId3"/>
    <p:sldId id="576" r:id="rId4"/>
    <p:sldId id="577" r:id="rId5"/>
    <p:sldId id="578" r:id="rId6"/>
    <p:sldId id="579" r:id="rId7"/>
    <p:sldId id="580" r:id="rId8"/>
    <p:sldId id="277" r:id="rId9"/>
    <p:sldId id="278" r:id="rId10"/>
    <p:sldId id="581" r:id="rId11"/>
    <p:sldId id="582" r:id="rId12"/>
    <p:sldId id="583" r:id="rId13"/>
    <p:sldId id="584" r:id="rId14"/>
    <p:sldId id="585" r:id="rId15"/>
    <p:sldId id="586" r:id="rId16"/>
    <p:sldId id="587" r:id="rId17"/>
    <p:sldId id="588" r:id="rId18"/>
    <p:sldId id="589" r:id="rId19"/>
    <p:sldId id="590" r:id="rId20"/>
    <p:sldId id="591" r:id="rId21"/>
    <p:sldId id="592" r:id="rId22"/>
    <p:sldId id="593" r:id="rId23"/>
    <p:sldId id="594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83" d="100"/>
          <a:sy n="83" d="100"/>
        </p:scale>
        <p:origin x="1450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61D025-8105-4F50-BDB2-49D57488B63A}" type="doc">
      <dgm:prSet loTypeId="urn:microsoft.com/office/officeart/2008/layout/RadialCluster" loCatId="cycl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B1B33ED-77CD-470B-A880-87A129C70B06}">
      <dgm:prSet phldrT="[Text]">
        <dgm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/>
            <a:t>Logistic Regression</a:t>
          </a:r>
        </a:p>
      </dgm:t>
    </dgm:pt>
    <dgm:pt modelId="{6FB48837-298B-49F0-8E10-5BABB9C744FD}" type="parTrans" cxnId="{A3DEFC18-E368-4D7B-9CF9-CED1294B9735}">
      <dgm:prSet/>
      <dgm:spPr/>
      <dgm:t>
        <a:bodyPr/>
        <a:lstStyle/>
        <a:p>
          <a:endParaRPr lang="en-US"/>
        </a:p>
      </dgm:t>
    </dgm:pt>
    <dgm:pt modelId="{463985EB-C649-4ABB-A386-4B7415E9A471}" type="sibTrans" cxnId="{A3DEFC18-E368-4D7B-9CF9-CED1294B9735}">
      <dgm:prSet/>
      <dgm:spPr/>
      <dgm:t>
        <a:bodyPr/>
        <a:lstStyle/>
        <a:p>
          <a:endParaRPr lang="en-US"/>
        </a:p>
      </dgm:t>
    </dgm:pt>
    <dgm:pt modelId="{CE3594B6-C66C-4A51-A7B1-4D61BE54904B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Simple</a:t>
          </a:r>
        </a:p>
      </dgm:t>
    </dgm:pt>
    <dgm:pt modelId="{5661D49E-5AC8-4C35-AF0C-E2670F96B6EE}" type="parTrans" cxnId="{C2508B25-7AE7-4175-8293-498BF59670CB}">
      <dgm:prSet/>
      <dgm:spPr/>
      <dgm:t>
        <a:bodyPr/>
        <a:lstStyle/>
        <a:p>
          <a:endParaRPr lang="en-US"/>
        </a:p>
      </dgm:t>
    </dgm:pt>
    <dgm:pt modelId="{63636869-A52E-40DB-891E-532465B2D289}" type="sibTrans" cxnId="{C2508B25-7AE7-4175-8293-498BF59670CB}">
      <dgm:prSet/>
      <dgm:spPr/>
      <dgm:t>
        <a:bodyPr/>
        <a:lstStyle/>
        <a:p>
          <a:endParaRPr lang="en-US"/>
        </a:p>
      </dgm:t>
    </dgm:pt>
    <dgm:pt modelId="{0BB52154-DE92-4954-83BB-9002EEB41B40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/>
            <a:t>Multiple</a:t>
          </a:r>
        </a:p>
      </dgm:t>
    </dgm:pt>
    <dgm:pt modelId="{382DA741-3887-4568-A223-0E0DA8226166}" type="parTrans" cxnId="{636CE146-B8E0-41D8-8854-8C967CE1E99D}">
      <dgm:prSet/>
      <dgm:spPr/>
      <dgm:t>
        <a:bodyPr/>
        <a:lstStyle/>
        <a:p>
          <a:endParaRPr lang="en-US"/>
        </a:p>
      </dgm:t>
    </dgm:pt>
    <dgm:pt modelId="{1B1A30C5-9EF1-428E-96F3-6E9FF1E63E66}" type="sibTrans" cxnId="{636CE146-B8E0-41D8-8854-8C967CE1E99D}">
      <dgm:prSet/>
      <dgm:spPr/>
      <dgm:t>
        <a:bodyPr/>
        <a:lstStyle/>
        <a:p>
          <a:endParaRPr lang="en-US"/>
        </a:p>
      </dgm:t>
    </dgm:pt>
    <dgm:pt modelId="{2371D589-DA46-4E7E-9F75-39B20DFB3BC9}">
      <dgm:prSet phldrT="[Text]"/>
      <dgm:spPr/>
      <dgm:t>
        <a:bodyPr/>
        <a:lstStyle/>
        <a:p>
          <a:endParaRPr lang="en-US" dirty="0"/>
        </a:p>
      </dgm:t>
    </dgm:pt>
    <dgm:pt modelId="{4C12369F-0E31-4FD2-9B0C-14272850AC50}" type="parTrans" cxnId="{09103516-33F1-4D17-9FFE-2841DF107A30}">
      <dgm:prSet/>
      <dgm:spPr/>
      <dgm:t>
        <a:bodyPr/>
        <a:lstStyle/>
        <a:p>
          <a:endParaRPr lang="en-US"/>
        </a:p>
      </dgm:t>
    </dgm:pt>
    <dgm:pt modelId="{A752ACA9-E784-4FE7-B8CF-6B58762F9861}" type="sibTrans" cxnId="{09103516-33F1-4D17-9FFE-2841DF107A30}">
      <dgm:prSet/>
      <dgm:spPr/>
      <dgm:t>
        <a:bodyPr/>
        <a:lstStyle/>
        <a:p>
          <a:endParaRPr lang="en-US"/>
        </a:p>
      </dgm:t>
    </dgm:pt>
    <dgm:pt modelId="{89260CF4-E6DF-41D0-A8A8-966F254935AF}" type="pres">
      <dgm:prSet presAssocID="{4A61D025-8105-4F50-BDB2-49D57488B63A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49CA428C-561B-4F6B-9E0B-A7D51D7FEFFC}" type="pres">
      <dgm:prSet presAssocID="{5B1B33ED-77CD-470B-A880-87A129C70B06}" presName="singleCycle" presStyleCnt="0"/>
      <dgm:spPr/>
    </dgm:pt>
    <dgm:pt modelId="{F043F587-4968-4F0D-BE50-FD751DB661C7}" type="pres">
      <dgm:prSet presAssocID="{5B1B33ED-77CD-470B-A880-87A129C70B06}" presName="singleCenter" presStyleLbl="node1" presStyleIdx="0" presStyleCnt="3" custLinFactNeighborX="-61313">
        <dgm:presLayoutVars>
          <dgm:chMax val="7"/>
          <dgm:chPref val="7"/>
        </dgm:presLayoutVars>
      </dgm:prSet>
      <dgm:spPr/>
    </dgm:pt>
    <dgm:pt modelId="{FE0AD80B-09E6-4BEE-8D3D-DC7939179E94}" type="pres">
      <dgm:prSet presAssocID="{5661D49E-5AC8-4C35-AF0C-E2670F96B6EE}" presName="Name56" presStyleLbl="parChTrans1D2" presStyleIdx="0" presStyleCnt="2"/>
      <dgm:spPr/>
    </dgm:pt>
    <dgm:pt modelId="{B9BFB69C-B353-4E0D-8865-66881BA697CB}" type="pres">
      <dgm:prSet presAssocID="{CE3594B6-C66C-4A51-A7B1-4D61BE54904B}" presName="text0" presStyleLbl="node1" presStyleIdx="1" presStyleCnt="3" custScaleX="201030" custRadScaleRad="87117">
        <dgm:presLayoutVars>
          <dgm:bulletEnabled val="1"/>
        </dgm:presLayoutVars>
      </dgm:prSet>
      <dgm:spPr/>
    </dgm:pt>
    <dgm:pt modelId="{DDF65C93-FAFA-4B14-A488-A693758A86FA}" type="pres">
      <dgm:prSet presAssocID="{382DA741-3887-4568-A223-0E0DA8226166}" presName="Name56" presStyleLbl="parChTrans1D2" presStyleIdx="1" presStyleCnt="2"/>
      <dgm:spPr/>
    </dgm:pt>
    <dgm:pt modelId="{CCC544A7-81EF-41EE-942A-8D811A86A931}" type="pres">
      <dgm:prSet presAssocID="{0BB52154-DE92-4954-83BB-9002EEB41B40}" presName="text0" presStyleLbl="node1" presStyleIdx="2" presStyleCnt="3" custScaleX="201030" custRadScaleRad="85448">
        <dgm:presLayoutVars>
          <dgm:bulletEnabled val="1"/>
        </dgm:presLayoutVars>
      </dgm:prSet>
      <dgm:spPr/>
    </dgm:pt>
  </dgm:ptLst>
  <dgm:cxnLst>
    <dgm:cxn modelId="{09103516-33F1-4D17-9FFE-2841DF107A30}" srcId="{4A61D025-8105-4F50-BDB2-49D57488B63A}" destId="{2371D589-DA46-4E7E-9F75-39B20DFB3BC9}" srcOrd="1" destOrd="0" parTransId="{4C12369F-0E31-4FD2-9B0C-14272850AC50}" sibTransId="{A752ACA9-E784-4FE7-B8CF-6B58762F9861}"/>
    <dgm:cxn modelId="{A3DEFC18-E368-4D7B-9CF9-CED1294B9735}" srcId="{4A61D025-8105-4F50-BDB2-49D57488B63A}" destId="{5B1B33ED-77CD-470B-A880-87A129C70B06}" srcOrd="0" destOrd="0" parTransId="{6FB48837-298B-49F0-8E10-5BABB9C744FD}" sibTransId="{463985EB-C649-4ABB-A386-4B7415E9A471}"/>
    <dgm:cxn modelId="{C2508B25-7AE7-4175-8293-498BF59670CB}" srcId="{5B1B33ED-77CD-470B-A880-87A129C70B06}" destId="{CE3594B6-C66C-4A51-A7B1-4D61BE54904B}" srcOrd="0" destOrd="0" parTransId="{5661D49E-5AC8-4C35-AF0C-E2670F96B6EE}" sibTransId="{63636869-A52E-40DB-891E-532465B2D289}"/>
    <dgm:cxn modelId="{636CE146-B8E0-41D8-8854-8C967CE1E99D}" srcId="{5B1B33ED-77CD-470B-A880-87A129C70B06}" destId="{0BB52154-DE92-4954-83BB-9002EEB41B40}" srcOrd="1" destOrd="0" parTransId="{382DA741-3887-4568-A223-0E0DA8226166}" sibTransId="{1B1A30C5-9EF1-428E-96F3-6E9FF1E63E66}"/>
    <dgm:cxn modelId="{5E1F6A49-9DA6-481F-9739-5841F2C4D7CD}" type="presOf" srcId="{4A61D025-8105-4F50-BDB2-49D57488B63A}" destId="{89260CF4-E6DF-41D0-A8A8-966F254935AF}" srcOrd="0" destOrd="0" presId="urn:microsoft.com/office/officeart/2008/layout/RadialCluster"/>
    <dgm:cxn modelId="{33D13487-2BA1-40D2-ACA0-6BFBEE76DEE7}" type="presOf" srcId="{0BB52154-DE92-4954-83BB-9002EEB41B40}" destId="{CCC544A7-81EF-41EE-942A-8D811A86A931}" srcOrd="0" destOrd="0" presId="urn:microsoft.com/office/officeart/2008/layout/RadialCluster"/>
    <dgm:cxn modelId="{B96CBEAA-E315-4A3C-BED7-926C0A073167}" type="presOf" srcId="{5661D49E-5AC8-4C35-AF0C-E2670F96B6EE}" destId="{FE0AD80B-09E6-4BEE-8D3D-DC7939179E94}" srcOrd="0" destOrd="0" presId="urn:microsoft.com/office/officeart/2008/layout/RadialCluster"/>
    <dgm:cxn modelId="{17F896AC-56EF-4416-8AC2-4051BE619B4F}" type="presOf" srcId="{5B1B33ED-77CD-470B-A880-87A129C70B06}" destId="{F043F587-4968-4F0D-BE50-FD751DB661C7}" srcOrd="0" destOrd="0" presId="urn:microsoft.com/office/officeart/2008/layout/RadialCluster"/>
    <dgm:cxn modelId="{82F9D9E6-44DA-4969-8A8F-2F232ACC3FB4}" type="presOf" srcId="{382DA741-3887-4568-A223-0E0DA8226166}" destId="{DDF65C93-FAFA-4B14-A488-A693758A86FA}" srcOrd="0" destOrd="0" presId="urn:microsoft.com/office/officeart/2008/layout/RadialCluster"/>
    <dgm:cxn modelId="{A6FCA9EE-A335-4EB6-8D6A-BED20952140E}" type="presOf" srcId="{CE3594B6-C66C-4A51-A7B1-4D61BE54904B}" destId="{B9BFB69C-B353-4E0D-8865-66881BA697CB}" srcOrd="0" destOrd="0" presId="urn:microsoft.com/office/officeart/2008/layout/RadialCluster"/>
    <dgm:cxn modelId="{409EC628-72FE-40E8-9072-AD0FF2B8DA15}" type="presParOf" srcId="{89260CF4-E6DF-41D0-A8A8-966F254935AF}" destId="{49CA428C-561B-4F6B-9E0B-A7D51D7FEFFC}" srcOrd="0" destOrd="0" presId="urn:microsoft.com/office/officeart/2008/layout/RadialCluster"/>
    <dgm:cxn modelId="{5CB509F6-CD85-4BD6-BCD7-70630D0F830F}" type="presParOf" srcId="{49CA428C-561B-4F6B-9E0B-A7D51D7FEFFC}" destId="{F043F587-4968-4F0D-BE50-FD751DB661C7}" srcOrd="0" destOrd="0" presId="urn:microsoft.com/office/officeart/2008/layout/RadialCluster"/>
    <dgm:cxn modelId="{88A4D0D5-316A-492A-B055-378B42CFC206}" type="presParOf" srcId="{49CA428C-561B-4F6B-9E0B-A7D51D7FEFFC}" destId="{FE0AD80B-09E6-4BEE-8D3D-DC7939179E94}" srcOrd="1" destOrd="0" presId="urn:microsoft.com/office/officeart/2008/layout/RadialCluster"/>
    <dgm:cxn modelId="{9E955EB1-C745-46AE-9923-28ABED03E2C6}" type="presParOf" srcId="{49CA428C-561B-4F6B-9E0B-A7D51D7FEFFC}" destId="{B9BFB69C-B353-4E0D-8865-66881BA697CB}" srcOrd="2" destOrd="0" presId="urn:microsoft.com/office/officeart/2008/layout/RadialCluster"/>
    <dgm:cxn modelId="{4F47A738-EE18-413C-8C1D-D4210A7DD08A}" type="presParOf" srcId="{49CA428C-561B-4F6B-9E0B-A7D51D7FEFFC}" destId="{DDF65C93-FAFA-4B14-A488-A693758A86FA}" srcOrd="3" destOrd="0" presId="urn:microsoft.com/office/officeart/2008/layout/RadialCluster"/>
    <dgm:cxn modelId="{86CAA285-7660-4E4A-BCCE-986A68C9869D}" type="presParOf" srcId="{49CA428C-561B-4F6B-9E0B-A7D51D7FEFFC}" destId="{CCC544A7-81EF-41EE-942A-8D811A86A931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61D025-8105-4F50-BDB2-49D57488B63A}" type="doc">
      <dgm:prSet loTypeId="urn:microsoft.com/office/officeart/2008/layout/RadialCluster" loCatId="cycl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9260CF4-E6DF-41D0-A8A8-966F254935AF}" type="pres">
      <dgm:prSet presAssocID="{4A61D025-8105-4F50-BDB2-49D57488B63A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</dgm:ptLst>
  <dgm:cxnLst>
    <dgm:cxn modelId="{CACA20D3-6597-564A-8B1C-D761F5F4953C}" type="presOf" srcId="{4A61D025-8105-4F50-BDB2-49D57488B63A}" destId="{89260CF4-E6DF-41D0-A8A8-966F254935AF}" srcOrd="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A61D025-8105-4F50-BDB2-49D57488B63A}" type="doc">
      <dgm:prSet loTypeId="urn:microsoft.com/office/officeart/2008/layout/RadialCluster" loCatId="cycl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9260CF4-E6DF-41D0-A8A8-966F254935AF}" type="pres">
      <dgm:prSet presAssocID="{4A61D025-8105-4F50-BDB2-49D57488B63A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</dgm:ptLst>
  <dgm:cxnLst>
    <dgm:cxn modelId="{17127761-CFF9-1E40-ABF6-59AB2AFA1DEE}" type="presOf" srcId="{4A61D025-8105-4F50-BDB2-49D57488B63A}" destId="{89260CF4-E6DF-41D0-A8A8-966F254935AF}" srcOrd="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43F587-4968-4F0D-BE50-FD751DB661C7}">
      <dsp:nvSpPr>
        <dsp:cNvPr id="0" name=""/>
        <dsp:cNvSpPr/>
      </dsp:nvSpPr>
      <dsp:spPr>
        <a:xfrm>
          <a:off x="1219154" y="1584087"/>
          <a:ext cx="1357788" cy="1357788"/>
        </a:xfrm>
        <a:prstGeom prst="round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5"/>
        </a:lnRef>
        <a:fillRef idx="3">
          <a:schemeClr val="accent5"/>
        </a:fillRef>
        <a:effectRef idx="2">
          <a:schemeClr val="accent5"/>
        </a:effectRef>
        <a:fontRef idx="minor">
          <a:schemeClr val="lt1"/>
        </a:fontRef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Logistic Regression</a:t>
          </a:r>
        </a:p>
      </dsp:txBody>
      <dsp:txXfrm>
        <a:off x="1285436" y="1650369"/>
        <a:ext cx="1225224" cy="1225224"/>
      </dsp:txXfrm>
    </dsp:sp>
    <dsp:sp modelId="{FE0AD80B-09E6-4BEE-8D3D-DC7939179E94}">
      <dsp:nvSpPr>
        <dsp:cNvPr id="0" name=""/>
        <dsp:cNvSpPr/>
      </dsp:nvSpPr>
      <dsp:spPr>
        <a:xfrm rot="19476536">
          <a:off x="2475216" y="1461836"/>
          <a:ext cx="1101050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01050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BFB69C-B353-4E0D-8865-66881BA697CB}">
      <dsp:nvSpPr>
        <dsp:cNvPr id="0" name=""/>
        <dsp:cNvSpPr/>
      </dsp:nvSpPr>
      <dsp:spPr>
        <a:xfrm>
          <a:off x="3200396" y="233279"/>
          <a:ext cx="1828807" cy="909718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dsp:style>
      <dsp:txBody>
        <a:bodyPr spcFirstLastPara="0" vert="horz" wrap="square" lIns="88900" tIns="88900" rIns="88900" bIns="8890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/>
            <a:t>Simple</a:t>
          </a:r>
        </a:p>
      </dsp:txBody>
      <dsp:txXfrm>
        <a:off x="3244805" y="277688"/>
        <a:ext cx="1739989" cy="820900"/>
      </dsp:txXfrm>
    </dsp:sp>
    <dsp:sp modelId="{DDF65C93-FAFA-4B14-A488-A693758A86FA}">
      <dsp:nvSpPr>
        <dsp:cNvPr id="0" name=""/>
        <dsp:cNvSpPr/>
      </dsp:nvSpPr>
      <dsp:spPr>
        <a:xfrm rot="2092169">
          <a:off x="2480099" y="3044420"/>
          <a:ext cx="10787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78777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C544A7-81EF-41EE-942A-8D811A86A931}">
      <dsp:nvSpPr>
        <dsp:cNvPr id="0" name=""/>
        <dsp:cNvSpPr/>
      </dsp:nvSpPr>
      <dsp:spPr>
        <a:xfrm>
          <a:off x="3200396" y="3352794"/>
          <a:ext cx="1828807" cy="909718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dsp:style>
      <dsp:txBody>
        <a:bodyPr spcFirstLastPara="0" vert="horz" wrap="square" lIns="88900" tIns="88900" rIns="88900" bIns="8890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/>
            <a:t>Multiple</a:t>
          </a:r>
        </a:p>
      </dsp:txBody>
      <dsp:txXfrm>
        <a:off x="3244805" y="3397203"/>
        <a:ext cx="1739989" cy="8209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B9CE9D-5C7C-4FDF-A22A-4B44E27A5DA4}" type="datetimeFigureOut">
              <a:rPr lang="en-US" smtClean="0"/>
              <a:t>6/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1F421-CD13-43C0-9A84-E35CEF6BDE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6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2"/>
                </a:solidFill>
              </a:defRPr>
            </a:lvl1pPr>
            <a:lvl2pPr marL="356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97319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7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9246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1"/>
            <a:ext cx="8412480" cy="766750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7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91103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56994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4700">
                <a:solidFill>
                  <a:schemeClr val="bg1"/>
                </a:solidFill>
              </a:defRPr>
            </a:lvl1pPr>
            <a:lvl2pPr>
              <a:defRPr sz="4700">
                <a:solidFill>
                  <a:schemeClr val="bg2"/>
                </a:solidFill>
              </a:defRPr>
            </a:lvl2pPr>
            <a:lvl3pPr>
              <a:defRPr sz="4700">
                <a:solidFill>
                  <a:schemeClr val="bg2"/>
                </a:solidFill>
              </a:defRPr>
            </a:lvl3pPr>
            <a:lvl4pPr>
              <a:defRPr sz="4700">
                <a:solidFill>
                  <a:schemeClr val="bg2"/>
                </a:solidFill>
              </a:defRPr>
            </a:lvl4pPr>
            <a:lvl5pPr>
              <a:defRPr sz="4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21614711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  <a:lvl2pPr>
              <a:defRPr sz="4700">
                <a:solidFill>
                  <a:schemeClr val="bg2"/>
                </a:solidFill>
              </a:defRPr>
            </a:lvl2pPr>
            <a:lvl3pPr>
              <a:defRPr sz="4700">
                <a:solidFill>
                  <a:schemeClr val="bg2"/>
                </a:solidFill>
              </a:defRPr>
            </a:lvl3pPr>
            <a:lvl4pPr>
              <a:defRPr sz="4700">
                <a:solidFill>
                  <a:schemeClr val="bg2"/>
                </a:solidFill>
              </a:defRPr>
            </a:lvl4pPr>
            <a:lvl5pPr>
              <a:defRPr sz="4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90957952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  <a:lvl2pPr>
              <a:defRPr sz="4700">
                <a:solidFill>
                  <a:schemeClr val="bg2"/>
                </a:solidFill>
              </a:defRPr>
            </a:lvl2pPr>
            <a:lvl3pPr>
              <a:defRPr sz="4700">
                <a:solidFill>
                  <a:schemeClr val="bg2"/>
                </a:solidFill>
              </a:defRPr>
            </a:lvl3pPr>
            <a:lvl4pPr>
              <a:defRPr sz="4700">
                <a:solidFill>
                  <a:schemeClr val="bg2"/>
                </a:solidFill>
              </a:defRPr>
            </a:lvl4pPr>
            <a:lvl5pPr>
              <a:defRPr sz="4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41354515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700" baseline="0">
                <a:solidFill>
                  <a:schemeClr val="accent2"/>
                </a:solidFill>
              </a:defRPr>
            </a:lvl1pPr>
            <a:lvl2pPr>
              <a:defRPr sz="4700">
                <a:solidFill>
                  <a:schemeClr val="accent2"/>
                </a:solidFill>
              </a:defRPr>
            </a:lvl2pPr>
            <a:lvl3pPr>
              <a:defRPr sz="4700">
                <a:solidFill>
                  <a:schemeClr val="accent2"/>
                </a:solidFill>
              </a:defRPr>
            </a:lvl3pPr>
            <a:lvl4pPr>
              <a:defRPr sz="4700">
                <a:solidFill>
                  <a:schemeClr val="accent2"/>
                </a:solidFill>
              </a:defRPr>
            </a:lvl4pPr>
            <a:lvl5pPr>
              <a:defRPr sz="4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25654209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8" y="1818069"/>
            <a:ext cx="2811073" cy="3007406"/>
          </a:xfrm>
        </p:spPr>
        <p:txBody>
          <a:bodyPr/>
          <a:lstStyle>
            <a:lvl1pPr>
              <a:defRPr sz="3700">
                <a:solidFill>
                  <a:schemeClr val="accent2"/>
                </a:solidFill>
              </a:defRPr>
            </a:lvl1pPr>
            <a:lvl2pPr>
              <a:defRPr sz="3700">
                <a:solidFill>
                  <a:schemeClr val="accent2"/>
                </a:solidFill>
              </a:defRPr>
            </a:lvl2pPr>
            <a:lvl3pPr>
              <a:defRPr sz="3700">
                <a:solidFill>
                  <a:schemeClr val="accent2"/>
                </a:solidFill>
              </a:defRPr>
            </a:lvl3pPr>
            <a:lvl4pPr>
              <a:defRPr sz="3700">
                <a:solidFill>
                  <a:schemeClr val="accent2"/>
                </a:solidFill>
              </a:defRPr>
            </a:lvl4pPr>
            <a:lvl5pPr>
              <a:defRPr sz="3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874475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70" y="319068"/>
            <a:ext cx="6845093" cy="5988439"/>
          </a:xfrm>
        </p:spPr>
        <p:txBody>
          <a:bodyPr/>
          <a:lstStyle>
            <a:lvl1pPr>
              <a:spcBef>
                <a:spcPts val="2808"/>
              </a:spcBef>
              <a:defRPr sz="2300">
                <a:solidFill>
                  <a:schemeClr val="bg1"/>
                </a:solidFill>
              </a:defRPr>
            </a:lvl1pPr>
            <a:lvl2pPr marL="356616" indent="-356616">
              <a:defRPr sz="2300">
                <a:solidFill>
                  <a:schemeClr val="bg2"/>
                </a:solidFill>
              </a:defRPr>
            </a:lvl2pPr>
            <a:lvl3pPr>
              <a:defRPr sz="2300">
                <a:solidFill>
                  <a:schemeClr val="bg2"/>
                </a:solidFill>
              </a:defRPr>
            </a:lvl3pPr>
            <a:lvl4pPr>
              <a:defRPr sz="2300">
                <a:solidFill>
                  <a:schemeClr val="bg2"/>
                </a:solidFill>
              </a:defRPr>
            </a:lvl4pPr>
            <a:lvl5pPr>
              <a:defRPr sz="23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480241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70" y="319068"/>
            <a:ext cx="6845093" cy="5988439"/>
          </a:xfrm>
        </p:spPr>
        <p:txBody>
          <a:bodyPr/>
          <a:lstStyle>
            <a:lvl1pPr>
              <a:spcBef>
                <a:spcPts val="2808"/>
              </a:spcBef>
              <a:defRPr sz="2300">
                <a:solidFill>
                  <a:schemeClr val="bg1"/>
                </a:solidFill>
              </a:defRPr>
            </a:lvl1pPr>
            <a:lvl2pPr marL="356616" indent="-356616">
              <a:defRPr sz="2300">
                <a:solidFill>
                  <a:schemeClr val="bg2"/>
                </a:solidFill>
              </a:defRPr>
            </a:lvl2pPr>
            <a:lvl3pPr>
              <a:defRPr sz="2300">
                <a:solidFill>
                  <a:schemeClr val="bg2"/>
                </a:solidFill>
              </a:defRPr>
            </a:lvl3pPr>
            <a:lvl4pPr>
              <a:defRPr sz="2300">
                <a:solidFill>
                  <a:schemeClr val="bg2"/>
                </a:solidFill>
              </a:defRPr>
            </a:lvl4pPr>
            <a:lvl5pPr>
              <a:defRPr sz="23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605040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>
                <a:solidFill>
                  <a:schemeClr val="accent2"/>
                </a:solidFill>
              </a:defRPr>
            </a:lvl1pPr>
            <a:lvl2pPr marL="356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6797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70" y="319068"/>
            <a:ext cx="6845093" cy="5988439"/>
          </a:xfrm>
        </p:spPr>
        <p:txBody>
          <a:bodyPr/>
          <a:lstStyle>
            <a:lvl1pPr>
              <a:spcBef>
                <a:spcPts val="2808"/>
              </a:spcBef>
              <a:defRPr sz="2300">
                <a:solidFill>
                  <a:schemeClr val="bg1"/>
                </a:solidFill>
              </a:defRPr>
            </a:lvl1pPr>
            <a:lvl2pPr marL="356616" indent="-356616">
              <a:defRPr sz="2300">
                <a:solidFill>
                  <a:schemeClr val="bg2"/>
                </a:solidFill>
              </a:defRPr>
            </a:lvl2pPr>
            <a:lvl3pPr>
              <a:defRPr sz="2300">
                <a:solidFill>
                  <a:schemeClr val="bg2"/>
                </a:solidFill>
              </a:defRPr>
            </a:lvl3pPr>
            <a:lvl4pPr>
              <a:defRPr sz="2300">
                <a:solidFill>
                  <a:schemeClr val="bg2"/>
                </a:solidFill>
              </a:defRPr>
            </a:lvl4pPr>
            <a:lvl5pPr>
              <a:defRPr sz="23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974514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9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436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7353" y="178446"/>
            <a:ext cx="8529319" cy="646331"/>
          </a:xfrm>
        </p:spPr>
        <p:txBody>
          <a:bodyPr lIns="0" tIns="0" rIns="0" bIns="0"/>
          <a:lstStyle>
            <a:lvl1pPr>
              <a:defRPr sz="3500" b="1" i="0">
                <a:solidFill>
                  <a:srgbClr val="3E3D2D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3534" y="1201587"/>
            <a:ext cx="8456930" cy="369332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5622075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2"/>
                </a:solidFill>
              </a:defRPr>
            </a:lvl1pPr>
            <a:lvl2pPr marL="356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14242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>
                <a:solidFill>
                  <a:schemeClr val="accent2"/>
                </a:solidFill>
              </a:defRPr>
            </a:lvl1pPr>
            <a:lvl2pPr marL="356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1889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664407"/>
              </p:ext>
            </p:extLst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232"/>
            <a:endParaRPr lang="en-US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9" y="998069"/>
            <a:ext cx="4878856" cy="670396"/>
          </a:xfrm>
        </p:spPr>
        <p:txBody>
          <a:bodyPr anchor="b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9" y="1672133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b="0">
                <a:solidFill>
                  <a:schemeClr val="accent2"/>
                </a:solidFill>
              </a:defRPr>
            </a:lvl1pPr>
            <a:lvl2pPr marL="356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12699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6"/>
            <a:ext cx="841248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3185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45499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6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69803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525844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232"/>
            <a:endParaRPr lang="en-US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9" y="998069"/>
            <a:ext cx="4878856" cy="670396"/>
          </a:xfrm>
        </p:spPr>
        <p:txBody>
          <a:bodyPr anchor="b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9" y="1672133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00" b="0">
                <a:solidFill>
                  <a:schemeClr val="accent2"/>
                </a:solidFill>
              </a:defRPr>
            </a:lvl1pPr>
            <a:lvl2pPr marL="356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3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9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6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9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407909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6"/>
            <a:ext cx="5394960" cy="4735487"/>
          </a:xfrm>
        </p:spPr>
        <p:txBody>
          <a:bodyPr/>
          <a:lstStyle>
            <a:lvl1pPr>
              <a:tabLst>
                <a:tab pos="3922776" algn="r"/>
              </a:tabLst>
              <a:defRPr/>
            </a:lvl1pPr>
            <a:lvl2pPr>
              <a:tabLst>
                <a:tab pos="3922776" algn="r"/>
              </a:tabLst>
              <a:defRPr/>
            </a:lvl2pPr>
            <a:lvl3pPr>
              <a:tabLst>
                <a:tab pos="3922776" algn="r"/>
              </a:tabLst>
              <a:defRPr/>
            </a:lvl3pPr>
            <a:lvl4pPr>
              <a:tabLst>
                <a:tab pos="3922776" algn="r"/>
              </a:tabLst>
              <a:defRPr/>
            </a:lvl4pPr>
            <a:lvl5pPr>
              <a:tabLst>
                <a:tab pos="3922776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83314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6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6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18274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6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71157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1"/>
            <a:ext cx="8412480" cy="766750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6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0075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97533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4700">
                <a:solidFill>
                  <a:schemeClr val="bg1"/>
                </a:solidFill>
              </a:defRPr>
            </a:lvl1pPr>
            <a:lvl2pPr>
              <a:defRPr sz="4700">
                <a:solidFill>
                  <a:schemeClr val="bg2"/>
                </a:solidFill>
              </a:defRPr>
            </a:lvl2pPr>
            <a:lvl3pPr>
              <a:defRPr sz="4700">
                <a:solidFill>
                  <a:schemeClr val="bg2"/>
                </a:solidFill>
              </a:defRPr>
            </a:lvl3pPr>
            <a:lvl4pPr>
              <a:defRPr sz="4700">
                <a:solidFill>
                  <a:schemeClr val="bg2"/>
                </a:solidFill>
              </a:defRPr>
            </a:lvl4pPr>
            <a:lvl5pPr>
              <a:defRPr sz="4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51764930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  <a:lvl2pPr>
              <a:defRPr sz="4700">
                <a:solidFill>
                  <a:schemeClr val="bg2"/>
                </a:solidFill>
              </a:defRPr>
            </a:lvl2pPr>
            <a:lvl3pPr>
              <a:defRPr sz="4700">
                <a:solidFill>
                  <a:schemeClr val="bg2"/>
                </a:solidFill>
              </a:defRPr>
            </a:lvl3pPr>
            <a:lvl4pPr>
              <a:defRPr sz="4700">
                <a:solidFill>
                  <a:schemeClr val="bg2"/>
                </a:solidFill>
              </a:defRPr>
            </a:lvl4pPr>
            <a:lvl5pPr>
              <a:defRPr sz="4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74901710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  <a:lvl2pPr>
              <a:defRPr sz="4700">
                <a:solidFill>
                  <a:schemeClr val="bg2"/>
                </a:solidFill>
              </a:defRPr>
            </a:lvl2pPr>
            <a:lvl3pPr>
              <a:defRPr sz="4700">
                <a:solidFill>
                  <a:schemeClr val="bg2"/>
                </a:solidFill>
              </a:defRPr>
            </a:lvl3pPr>
            <a:lvl4pPr>
              <a:defRPr sz="4700">
                <a:solidFill>
                  <a:schemeClr val="bg2"/>
                </a:solidFill>
              </a:defRPr>
            </a:lvl4pPr>
            <a:lvl5pPr>
              <a:defRPr sz="4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96912720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700" baseline="0">
                <a:solidFill>
                  <a:schemeClr val="accent2"/>
                </a:solidFill>
              </a:defRPr>
            </a:lvl1pPr>
            <a:lvl2pPr>
              <a:defRPr sz="4700">
                <a:solidFill>
                  <a:schemeClr val="accent2"/>
                </a:solidFill>
              </a:defRPr>
            </a:lvl2pPr>
            <a:lvl3pPr>
              <a:defRPr sz="4700">
                <a:solidFill>
                  <a:schemeClr val="accent2"/>
                </a:solidFill>
              </a:defRPr>
            </a:lvl3pPr>
            <a:lvl4pPr>
              <a:defRPr sz="4700">
                <a:solidFill>
                  <a:schemeClr val="accent2"/>
                </a:solidFill>
              </a:defRPr>
            </a:lvl4pPr>
            <a:lvl5pPr>
              <a:defRPr sz="4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62425515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8" y="1818069"/>
            <a:ext cx="2811073" cy="3007406"/>
          </a:xfrm>
        </p:spPr>
        <p:txBody>
          <a:bodyPr/>
          <a:lstStyle>
            <a:lvl1pPr>
              <a:defRPr sz="3700">
                <a:solidFill>
                  <a:schemeClr val="accent2"/>
                </a:solidFill>
              </a:defRPr>
            </a:lvl1pPr>
            <a:lvl2pPr>
              <a:defRPr sz="3700">
                <a:solidFill>
                  <a:schemeClr val="accent2"/>
                </a:solidFill>
              </a:defRPr>
            </a:lvl2pPr>
            <a:lvl3pPr>
              <a:defRPr sz="3700">
                <a:solidFill>
                  <a:schemeClr val="accent2"/>
                </a:solidFill>
              </a:defRPr>
            </a:lvl3pPr>
            <a:lvl4pPr>
              <a:defRPr sz="3700">
                <a:solidFill>
                  <a:schemeClr val="accent2"/>
                </a:solidFill>
              </a:defRPr>
            </a:lvl4pPr>
            <a:lvl5pPr>
              <a:defRPr sz="3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99010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7"/>
            <a:ext cx="841248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93564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6" y="319068"/>
            <a:ext cx="6845093" cy="5988439"/>
          </a:xfrm>
        </p:spPr>
        <p:txBody>
          <a:bodyPr/>
          <a:lstStyle>
            <a:lvl1pPr>
              <a:spcBef>
                <a:spcPts val="2808"/>
              </a:spcBef>
              <a:defRPr sz="2300">
                <a:solidFill>
                  <a:schemeClr val="bg1"/>
                </a:solidFill>
              </a:defRPr>
            </a:lvl1pPr>
            <a:lvl2pPr marL="356616" indent="-356616">
              <a:defRPr sz="2300">
                <a:solidFill>
                  <a:schemeClr val="bg2"/>
                </a:solidFill>
              </a:defRPr>
            </a:lvl2pPr>
            <a:lvl3pPr>
              <a:defRPr sz="2300">
                <a:solidFill>
                  <a:schemeClr val="bg2"/>
                </a:solidFill>
              </a:defRPr>
            </a:lvl3pPr>
            <a:lvl4pPr>
              <a:defRPr sz="2300">
                <a:solidFill>
                  <a:schemeClr val="bg2"/>
                </a:solidFill>
              </a:defRPr>
            </a:lvl4pPr>
            <a:lvl5pPr>
              <a:defRPr sz="23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2037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6" y="319068"/>
            <a:ext cx="6845093" cy="5988439"/>
          </a:xfrm>
        </p:spPr>
        <p:txBody>
          <a:bodyPr/>
          <a:lstStyle>
            <a:lvl1pPr>
              <a:spcBef>
                <a:spcPts val="2808"/>
              </a:spcBef>
              <a:defRPr sz="2300">
                <a:solidFill>
                  <a:schemeClr val="bg1"/>
                </a:solidFill>
              </a:defRPr>
            </a:lvl1pPr>
            <a:lvl2pPr marL="356616" indent="-356616">
              <a:defRPr sz="2300">
                <a:solidFill>
                  <a:schemeClr val="bg2"/>
                </a:solidFill>
              </a:defRPr>
            </a:lvl2pPr>
            <a:lvl3pPr>
              <a:defRPr sz="2300">
                <a:solidFill>
                  <a:schemeClr val="bg2"/>
                </a:solidFill>
              </a:defRPr>
            </a:lvl3pPr>
            <a:lvl4pPr>
              <a:defRPr sz="2300">
                <a:solidFill>
                  <a:schemeClr val="bg2"/>
                </a:solidFill>
              </a:defRPr>
            </a:lvl4pPr>
            <a:lvl5pPr>
              <a:defRPr sz="23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4530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6" y="319068"/>
            <a:ext cx="6845093" cy="5988439"/>
          </a:xfrm>
        </p:spPr>
        <p:txBody>
          <a:bodyPr/>
          <a:lstStyle>
            <a:lvl1pPr>
              <a:spcBef>
                <a:spcPts val="2808"/>
              </a:spcBef>
              <a:defRPr sz="2300">
                <a:solidFill>
                  <a:schemeClr val="bg1"/>
                </a:solidFill>
              </a:defRPr>
            </a:lvl1pPr>
            <a:lvl2pPr marL="356616" indent="-356616">
              <a:defRPr sz="2300">
                <a:solidFill>
                  <a:schemeClr val="bg2"/>
                </a:solidFill>
              </a:defRPr>
            </a:lvl2pPr>
            <a:lvl3pPr>
              <a:defRPr sz="2300">
                <a:solidFill>
                  <a:schemeClr val="bg2"/>
                </a:solidFill>
              </a:defRPr>
            </a:lvl3pPr>
            <a:lvl4pPr>
              <a:defRPr sz="2300">
                <a:solidFill>
                  <a:schemeClr val="bg2"/>
                </a:solidFill>
              </a:defRPr>
            </a:lvl4pPr>
            <a:lvl5pPr>
              <a:defRPr sz="23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815920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9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25776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7349" y="178444"/>
            <a:ext cx="8529319" cy="646331"/>
          </a:xfrm>
        </p:spPr>
        <p:txBody>
          <a:bodyPr lIns="0" tIns="0" rIns="0" bIns="0"/>
          <a:lstStyle>
            <a:lvl1pPr>
              <a:defRPr sz="3500" b="1" i="0">
                <a:solidFill>
                  <a:srgbClr val="3E3D2D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3534" y="1201587"/>
            <a:ext cx="8456930" cy="369332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80039089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31657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7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2724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218403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9"/>
            <a:ext cx="5394960" cy="4735487"/>
          </a:xfrm>
        </p:spPr>
        <p:txBody>
          <a:bodyPr/>
          <a:lstStyle>
            <a:lvl1pPr>
              <a:tabLst>
                <a:tab pos="3922776" algn="r"/>
              </a:tabLst>
              <a:defRPr/>
            </a:lvl1pPr>
            <a:lvl2pPr>
              <a:tabLst>
                <a:tab pos="3922776" algn="r"/>
              </a:tabLst>
              <a:defRPr/>
            </a:lvl2pPr>
            <a:lvl3pPr>
              <a:tabLst>
                <a:tab pos="3922776" algn="r"/>
              </a:tabLst>
              <a:defRPr/>
            </a:lvl3pPr>
            <a:lvl4pPr>
              <a:tabLst>
                <a:tab pos="3922776" algn="r"/>
              </a:tabLst>
              <a:defRPr/>
            </a:lvl4pPr>
            <a:lvl5pPr>
              <a:tabLst>
                <a:tab pos="3922776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96757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5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9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9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3233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7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A6495D6-9D40-45D1-8D4F-F69C96C030FE}"/>
              </a:ext>
            </a:extLst>
          </p:cNvPr>
          <p:cNvSpPr txBox="1">
            <a:spLocks/>
          </p:cNvSpPr>
          <p:nvPr userDrawn="1"/>
        </p:nvSpPr>
        <p:spPr>
          <a:xfrm>
            <a:off x="2276475" y="6494019"/>
            <a:ext cx="477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© 2019 ExcelR Solutions. All Rights Reserv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E5E896-4AC3-4F5C-82EF-A13CDCF979EF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11824"/>
            <a:ext cx="1295400" cy="306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136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>
    <p:fade/>
  </p:transition>
  <p:hf hdr="0" dt="0"/>
  <p:txStyles>
    <p:titleStyle>
      <a:lvl1pPr algn="l" defTabSz="713232" rtl="0" eaLnBrk="1" latinLnBrk="0" hangingPunct="1">
        <a:spcBef>
          <a:spcPct val="0"/>
        </a:spcBef>
        <a:buNone/>
        <a:defRPr sz="2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713232" rtl="0" eaLnBrk="1" latinLnBrk="0" hangingPunct="1">
        <a:spcBef>
          <a:spcPts val="936"/>
        </a:spcBef>
        <a:buSzPct val="100000"/>
        <a:buFont typeface="Arial" panose="020B0604020202020204" pitchFamily="34" charset="0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58496" indent="-158496" algn="l" defTabSz="713232" rtl="0" eaLnBrk="1" latinLnBrk="0" hangingPunct="1">
        <a:spcBef>
          <a:spcPts val="468"/>
        </a:spcBef>
        <a:buClrTx/>
        <a:buSzPct val="100000"/>
        <a:buFont typeface="Arial"/>
        <a:buChar char="•"/>
        <a:defRPr lang="en-US" sz="14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336804" indent="-158496" algn="l" defTabSz="713232" rtl="0" eaLnBrk="1" latinLnBrk="0" hangingPunct="1">
        <a:spcBef>
          <a:spcPts val="468"/>
        </a:spcBef>
        <a:buClrTx/>
        <a:buSzPct val="100000"/>
        <a:buFont typeface="Arial"/>
        <a:buChar char="−"/>
        <a:defRPr lang="en-US" sz="14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515112" indent="-158496" algn="l" defTabSz="713232" rtl="0" eaLnBrk="1" latinLnBrk="0" hangingPunct="1">
        <a:spcBef>
          <a:spcPts val="468"/>
        </a:spcBef>
        <a:buClrTx/>
        <a:buSzPct val="100000"/>
        <a:buFont typeface="Arial"/>
        <a:buChar char="◦"/>
        <a:defRPr lang="en-US" sz="12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693420" indent="-158496" algn="l" defTabSz="622840" rtl="0" eaLnBrk="1" latinLnBrk="0" hangingPunct="1">
        <a:spcBef>
          <a:spcPts val="468"/>
        </a:spcBef>
        <a:buClrTx/>
        <a:buSzPct val="100000"/>
        <a:buFont typeface="Arial"/>
        <a:buChar char="−"/>
        <a:tabLst/>
        <a:defRPr lang="en-US" sz="12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1961388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8004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620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236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61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23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84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308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69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31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92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81260290"/>
              </p:ext>
            </p:extLst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6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1B155E-FEDE-4577-A9C4-EABF2335FC46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5013"/>
            <a:ext cx="1143000" cy="30634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A153165-C793-4A5A-987E-4A417F3BC702}"/>
              </a:ext>
            </a:extLst>
          </p:cNvPr>
          <p:cNvSpPr txBox="1">
            <a:spLocks/>
          </p:cNvSpPr>
          <p:nvPr userDrawn="1"/>
        </p:nvSpPr>
        <p:spPr>
          <a:xfrm>
            <a:off x="2362200" y="6553729"/>
            <a:ext cx="47752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© 2013-2019 ExcelR Solution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09477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</p:sldLayoutIdLst>
  <p:transition>
    <p:fade/>
  </p:transition>
  <p:txStyles>
    <p:titleStyle>
      <a:lvl1pPr algn="l" defTabSz="713232" rtl="0" eaLnBrk="1" latinLnBrk="0" hangingPunct="1">
        <a:spcBef>
          <a:spcPct val="0"/>
        </a:spcBef>
        <a:buNone/>
        <a:defRPr sz="2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713232" rtl="0" eaLnBrk="1" latinLnBrk="0" hangingPunct="1">
        <a:spcBef>
          <a:spcPts val="936"/>
        </a:spcBef>
        <a:buSzPct val="100000"/>
        <a:buFont typeface="Arial" panose="020B0604020202020204" pitchFamily="34" charset="0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58496" indent="-158496" algn="l" defTabSz="713232" rtl="0" eaLnBrk="1" latinLnBrk="0" hangingPunct="1">
        <a:spcBef>
          <a:spcPts val="468"/>
        </a:spcBef>
        <a:buClrTx/>
        <a:buSzPct val="100000"/>
        <a:buFont typeface="Arial"/>
        <a:buChar char="•"/>
        <a:defRPr lang="en-US" sz="14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336804" indent="-158496" algn="l" defTabSz="713232" rtl="0" eaLnBrk="1" latinLnBrk="0" hangingPunct="1">
        <a:spcBef>
          <a:spcPts val="468"/>
        </a:spcBef>
        <a:buClrTx/>
        <a:buSzPct val="100000"/>
        <a:buFont typeface="Arial"/>
        <a:buChar char="−"/>
        <a:defRPr lang="en-US" sz="14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515112" indent="-158496" algn="l" defTabSz="713232" rtl="0" eaLnBrk="1" latinLnBrk="0" hangingPunct="1">
        <a:spcBef>
          <a:spcPts val="468"/>
        </a:spcBef>
        <a:buClrTx/>
        <a:buSzPct val="100000"/>
        <a:buFont typeface="Arial"/>
        <a:buChar char="◦"/>
        <a:defRPr lang="en-US" sz="12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693420" indent="-158496" algn="l" defTabSz="622840" rtl="0" eaLnBrk="1" latinLnBrk="0" hangingPunct="1">
        <a:spcBef>
          <a:spcPts val="468"/>
        </a:spcBef>
        <a:buClrTx/>
        <a:buSzPct val="100000"/>
        <a:buFont typeface="Arial"/>
        <a:buChar char="−"/>
        <a:tabLst/>
        <a:defRPr lang="en-US" sz="12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1961388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8004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620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236" indent="-178308" algn="l" defTabSz="713232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61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23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84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308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69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31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92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4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5">
            <a:extLst>
              <a:ext uri="{FF2B5EF4-FFF2-40B4-BE49-F238E27FC236}">
                <a16:creationId xmlns:a16="http://schemas.microsoft.com/office/drawing/2014/main" id="{D4D6406B-D5DE-4A0D-82FB-10A0581B6ADD}"/>
              </a:ext>
            </a:extLst>
          </p:cNvPr>
          <p:cNvSpPr txBox="1">
            <a:spLocks/>
          </p:cNvSpPr>
          <p:nvPr/>
        </p:nvSpPr>
        <p:spPr bwMode="gray">
          <a:xfrm>
            <a:off x="1219200" y="1849397"/>
            <a:ext cx="6781800" cy="2622182"/>
          </a:xfrm>
          <a:prstGeom prst="rect">
            <a:avLst/>
          </a:prstGeom>
        </p:spPr>
        <p:txBody>
          <a:bodyPr vert="horz" wrap="square" lIns="0" tIns="402262" rIns="0" bIns="0" rtlCol="0" anchor="ctr" anchorCtr="0">
            <a:spAutoFit/>
          </a:bodyPr>
          <a:lstStyle>
            <a:lvl1pPr algn="l" defTabSz="713232" rtl="0" eaLnBrk="1" latinLnBrk="0" hangingPunct="1">
              <a:spcBef>
                <a:spcPct val="0"/>
              </a:spcBef>
              <a:buNone/>
              <a:defRPr sz="3500" b="1" i="0" kern="1200">
                <a:solidFill>
                  <a:srgbClr val="3E3D2D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289519" algn="ctr">
              <a:defRPr/>
            </a:pPr>
            <a:r>
              <a:rPr lang="en-US" sz="7200" dirty="0">
                <a:solidFill>
                  <a:schemeClr val="accent5">
                    <a:lumMod val="75000"/>
                  </a:schemeClr>
                </a:solidFill>
                <a:latin typeface="Arial Rounded MT Bold" panose="020F0704030504030204" pitchFamily="34" charset="0"/>
              </a:rPr>
              <a:t>Analyzing Attribute Data</a:t>
            </a:r>
          </a:p>
        </p:txBody>
      </p:sp>
    </p:spTree>
    <p:extLst>
      <p:ext uri="{BB962C8B-B14F-4D97-AF65-F5344CB8AC3E}">
        <p14:creationId xmlns:p14="http://schemas.microsoft.com/office/powerpoint/2010/main" val="92412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AC14016-AAA5-4E46-AAF2-3A19DF174A93}"/>
              </a:ext>
            </a:extLst>
          </p:cNvPr>
          <p:cNvSpPr txBox="1">
            <a:spLocks/>
          </p:cNvSpPr>
          <p:nvPr/>
        </p:nvSpPr>
        <p:spPr>
          <a:xfrm>
            <a:off x="152405" y="685803"/>
            <a:ext cx="8529319" cy="538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Logistic Regression Example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D811A0B-0506-4268-A7B3-26BC5B84E907}"/>
              </a:ext>
            </a:extLst>
          </p:cNvPr>
          <p:cNvSpPr txBox="1">
            <a:spLocks/>
          </p:cNvSpPr>
          <p:nvPr/>
        </p:nvSpPr>
        <p:spPr>
          <a:xfrm>
            <a:off x="457200" y="1524000"/>
            <a:ext cx="8229600" cy="42672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agine that you are a Data Scientist at a very large scale integration circuit manufacturing company. You want to know whether or not the time spent inspecting each product impacts the quality assurance department’s ability to detect a designing error in the circui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   </a:t>
            </a:r>
            <a:r>
              <a:rPr kumimoji="0" lang="en-US" sz="32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ep-1: Collect and organize the sample data</a:t>
            </a:r>
          </a:p>
          <a:p>
            <a:pPr marL="2514600" marR="0" lvl="5" indent="-2286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Number of Observations</a:t>
            </a:r>
          </a:p>
          <a:p>
            <a:pPr marL="2514600" marR="0" lvl="5" indent="-2286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Error Identification</a:t>
            </a:r>
          </a:p>
          <a:p>
            <a:pPr marL="2514600" marR="0" lvl="5" indent="-2286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Inspection Time</a:t>
            </a:r>
          </a:p>
          <a:p>
            <a:pPr marL="2057400" marR="0" lvl="4" indent="-2286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umber of Observations: 55 Observations of circuits with errors, and determine whether those errors were detected by QA</a:t>
            </a:r>
          </a:p>
          <a:p>
            <a:pPr marL="457200" marR="0" lvl="1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8845633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867564B1-8105-4174-BFBE-C9D0F68C19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87" y="342900"/>
            <a:ext cx="4257675" cy="6172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F55160DA-F14E-4374-AE24-3B1955C4A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925" y="381000"/>
            <a:ext cx="4257675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BBB8582B-6005-478E-B5B4-7BAF06C89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7262" y="5486400"/>
            <a:ext cx="4191000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250745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21221BD-1F36-47F6-807A-0D667753268D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xample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C2BA8D-BED9-4C43-B79F-5BDBC26A1A9F}"/>
              </a:ext>
            </a:extLst>
          </p:cNvPr>
          <p:cNvSpPr txBox="1">
            <a:spLocks/>
          </p:cNvSpPr>
          <p:nvPr/>
        </p:nvSpPr>
        <p:spPr>
          <a:xfrm>
            <a:off x="457200" y="1600200"/>
            <a:ext cx="82296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-2: Formulate Logistic Regression Model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Logistic regression equation is derived from any statistical softwar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-3: Check model’s validity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 model’s validity involves performing Hypothesis testing, or validations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ating Logistic Regression Table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1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stic Regression Table: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stic Regression Table shows the estimated coefficients, standard error of the Coefficients, Z Statistics and p-values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2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09175FF3-B970-44A1-AC9D-0F458BFCB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2381250"/>
            <a:ext cx="3733800" cy="127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880366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96C7FC34-2C53-45F2-AAA4-0B8DE84E188A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xample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F5EB567-6472-477B-BA45-36B5A9BF2EE9}"/>
              </a:ext>
            </a:extLst>
          </p:cNvPr>
          <p:cNvSpPr txBox="1">
            <a:spLocks/>
          </p:cNvSpPr>
          <p:nvPr/>
        </p:nvSpPr>
        <p:spPr>
          <a:xfrm>
            <a:off x="457200" y="1600200"/>
            <a:ext cx="82296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1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stic Regression Table: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2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B5164C88-ABE5-4ED8-8FF0-8B34F0F00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2133600"/>
            <a:ext cx="5257800" cy="220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FDB600F-B594-48F0-90CD-E1B677276308}"/>
              </a:ext>
            </a:extLst>
          </p:cNvPr>
          <p:cNvSpPr txBox="1"/>
          <p:nvPr/>
        </p:nvSpPr>
        <p:spPr>
          <a:xfrm>
            <a:off x="1066800" y="4590871"/>
            <a:ext cx="7010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>
                <a:solidFill>
                  <a:prstClr val="black"/>
                </a:solidFill>
                <a:latin typeface="Calibri"/>
              </a:rPr>
              <a:t>The important thing about the table is p-value is 0.00 which is less than alpha value 0.05, this indicates that regression coefficients are not 0, and there is a significant relationship between the independent variable, -Inspection time and the dependent variable- error detection. </a:t>
            </a:r>
          </a:p>
        </p:txBody>
      </p:sp>
    </p:spTree>
    <p:extLst>
      <p:ext uri="{BB962C8B-B14F-4D97-AF65-F5344CB8AC3E}">
        <p14:creationId xmlns:p14="http://schemas.microsoft.com/office/powerpoint/2010/main" val="2367895107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88B81F8-9E05-4972-BD40-F0E61F6B1D6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xample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21F72C1-47F5-4ABF-B8A4-7B19FD9D55B2}"/>
              </a:ext>
            </a:extLst>
          </p:cNvPr>
          <p:cNvSpPr txBox="1">
            <a:spLocks/>
          </p:cNvSpPr>
          <p:nvPr/>
        </p:nvSpPr>
        <p:spPr>
          <a:xfrm>
            <a:off x="457200" y="1417638"/>
            <a:ext cx="8229600" cy="50593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odness-of-fit test Using Pearson Method: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-Square Statistics – 7.6831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gree of Freedom – 20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-value – 0.608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-value indicates that there’s insufficient evidence to reject the null hypothesis that the model fits the data adequately</a:t>
            </a:r>
          </a:p>
          <a:p>
            <a:pPr>
              <a:buClr>
                <a:srgbClr val="4BACC6">
                  <a:lumMod val="75000"/>
                </a:srgbClr>
              </a:buClr>
              <a:buFont typeface="Calibri" pitchFamily="34" charset="0"/>
              <a:buChar char="→"/>
              <a:defRPr/>
            </a:pPr>
            <a:endParaRPr lang="en-US" sz="2200" dirty="0">
              <a:solidFill>
                <a:sysClr val="windowText" lastClr="000000"/>
              </a:solidFill>
              <a:latin typeface="Calibri"/>
            </a:endParaRPr>
          </a:p>
          <a:p>
            <a:pPr>
              <a:buClr>
                <a:srgbClr val="4BACC6">
                  <a:lumMod val="75000"/>
                </a:srgbClr>
              </a:buClr>
              <a:buFont typeface="Calibri" pitchFamily="34" charset="0"/>
              <a:buChar char="→"/>
              <a:defRPr/>
            </a:pPr>
            <a:r>
              <a:rPr lang="en-US" sz="2200" dirty="0">
                <a:solidFill>
                  <a:sysClr val="windowText" lastClr="000000"/>
                </a:solidFill>
                <a:latin typeface="Calibri"/>
              </a:rPr>
              <a:t>Logistic Regression Equation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ermining Probabilities using Probability equation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Probability equ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2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3613B124-F40E-4D43-BFBB-A07DEDA26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3925660"/>
            <a:ext cx="3505200" cy="65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F03D526-BF0A-4ED3-8C34-1B91A372C7EC}"/>
              </a:ext>
            </a:extLst>
          </p:cNvPr>
          <p:cNvSpPr txBox="1"/>
          <p:nvPr/>
        </p:nvSpPr>
        <p:spPr>
          <a:xfrm>
            <a:off x="5486400" y="5539632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e = 2.718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DC859A-7AED-4D94-91DA-0BB096F982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5255696"/>
            <a:ext cx="1572255" cy="65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507142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252C860-1F17-4DC8-9D3E-43E3A182E918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xample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58A1F48-36BE-4ECE-B213-DFF527F893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543050"/>
            <a:ext cx="4267199" cy="120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3B6F740E-4C75-4E1B-9A03-72C8909D3F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999" y="2819400"/>
            <a:ext cx="4267199" cy="179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482993A-D079-4241-9501-8C66F7441881}"/>
              </a:ext>
            </a:extLst>
          </p:cNvPr>
          <p:cNvSpPr txBox="1"/>
          <p:nvPr/>
        </p:nvSpPr>
        <p:spPr>
          <a:xfrm>
            <a:off x="1295400" y="4867870"/>
            <a:ext cx="5638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i="1" dirty="0">
                <a:solidFill>
                  <a:prstClr val="black"/>
                </a:solidFill>
                <a:latin typeface="Calibri"/>
              </a:rPr>
              <a:t>Interpretation: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Probability 96.11% indicates that the error will be detected if QA spent 40 minutes of inspection during an  observation. </a:t>
            </a:r>
          </a:p>
        </p:txBody>
      </p:sp>
    </p:spTree>
    <p:extLst>
      <p:ext uri="{BB962C8B-B14F-4D97-AF65-F5344CB8AC3E}">
        <p14:creationId xmlns:p14="http://schemas.microsoft.com/office/powerpoint/2010/main" val="3402723514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1A8AA7D-2C7B-49E4-B090-5E59776A05BB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xample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2A72A02-D7FA-4F32-8DD8-29696FA295FF}"/>
              </a:ext>
            </a:extLst>
          </p:cNvPr>
          <p:cNvSpPr txBox="1">
            <a:spLocks/>
          </p:cNvSpPr>
          <p:nvPr/>
        </p:nvSpPr>
        <p:spPr>
          <a:xfrm>
            <a:off x="457200" y="1154545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-5: Compile the Resul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1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33911D13-3664-473A-A844-2F03A62B41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700" y="1699419"/>
            <a:ext cx="4038600" cy="3733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37B588E-40AB-4795-833F-87815F2B02C5}"/>
              </a:ext>
            </a:extLst>
          </p:cNvPr>
          <p:cNvSpPr txBox="1"/>
          <p:nvPr/>
        </p:nvSpPr>
        <p:spPr>
          <a:xfrm>
            <a:off x="838200" y="5558135"/>
            <a:ext cx="716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i="1" dirty="0">
                <a:solidFill>
                  <a:prstClr val="black"/>
                </a:solidFill>
                <a:latin typeface="Calibri"/>
              </a:rPr>
              <a:t>This example deals with simple logistic regression model with one dependent variable and one independent variable.  The same rule applies for Multiple Logistic Regression. </a:t>
            </a:r>
          </a:p>
        </p:txBody>
      </p:sp>
    </p:spTree>
    <p:extLst>
      <p:ext uri="{BB962C8B-B14F-4D97-AF65-F5344CB8AC3E}">
        <p14:creationId xmlns:p14="http://schemas.microsoft.com/office/powerpoint/2010/main" val="3836589278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4DE3F3C-C586-4A4B-8937-F78F0B8456D2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Example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271FB4D-2FB6-4709-8E47-C7421363F1D2}"/>
              </a:ext>
            </a:extLst>
          </p:cNvPr>
          <p:cNvSpPr txBox="1">
            <a:spLocks/>
          </p:cNvSpPr>
          <p:nvPr/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p-5: Compile the Resul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1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Calibri" pitchFamily="34" charset="0"/>
              <a:buChar char="→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7F587C4D-3F29-4510-9623-AD1DC4FE8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2305050"/>
            <a:ext cx="4953000" cy="348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2768033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92F0724-19D0-4CD0-BBF3-D4D23A6454BC}"/>
              </a:ext>
            </a:extLst>
          </p:cNvPr>
          <p:cNvSpPr txBox="1">
            <a:spLocks/>
          </p:cNvSpPr>
          <p:nvPr/>
        </p:nvSpPr>
        <p:spPr>
          <a:xfrm>
            <a:off x="14926" y="250265"/>
            <a:ext cx="8229600" cy="698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Confusion Matrix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20" name="Rounded Rectangle 5">
            <a:extLst>
              <a:ext uri="{FF2B5EF4-FFF2-40B4-BE49-F238E27FC236}">
                <a16:creationId xmlns:a16="http://schemas.microsoft.com/office/drawing/2014/main" id="{2F50BCD7-B547-4E61-B27E-5BE660793400}"/>
              </a:ext>
            </a:extLst>
          </p:cNvPr>
          <p:cNvSpPr/>
          <p:nvPr/>
        </p:nvSpPr>
        <p:spPr>
          <a:xfrm>
            <a:off x="3689732" y="2209799"/>
            <a:ext cx="1609157" cy="1017650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72C7E7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1" name="Rounded Rectangle 5">
            <a:extLst>
              <a:ext uri="{FF2B5EF4-FFF2-40B4-BE49-F238E27FC236}">
                <a16:creationId xmlns:a16="http://schemas.microsoft.com/office/drawing/2014/main" id="{A6A11C14-A6D0-4159-A050-55AF6E3CF9D0}"/>
              </a:ext>
            </a:extLst>
          </p:cNvPr>
          <p:cNvSpPr/>
          <p:nvPr/>
        </p:nvSpPr>
        <p:spPr>
          <a:xfrm>
            <a:off x="5324287" y="3260911"/>
            <a:ext cx="1609157" cy="1032098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00A1DE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2" name="Rounded Rectangle 5">
            <a:extLst>
              <a:ext uri="{FF2B5EF4-FFF2-40B4-BE49-F238E27FC236}">
                <a16:creationId xmlns:a16="http://schemas.microsoft.com/office/drawing/2014/main" id="{F185B0D6-46DA-45E1-BB75-6492117CF06E}"/>
              </a:ext>
            </a:extLst>
          </p:cNvPr>
          <p:cNvSpPr/>
          <p:nvPr/>
        </p:nvSpPr>
        <p:spPr>
          <a:xfrm flipV="1">
            <a:off x="5322521" y="2209800"/>
            <a:ext cx="1594231" cy="1016001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8C8C8C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0943FF4-0B19-4597-A259-C78F10843301}"/>
              </a:ext>
            </a:extLst>
          </p:cNvPr>
          <p:cNvSpPr/>
          <p:nvPr/>
        </p:nvSpPr>
        <p:spPr>
          <a:xfrm>
            <a:off x="3809994" y="2381283"/>
            <a:ext cx="174783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True positiv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8DCDFB-2097-4F4C-993A-6716040B6746}"/>
              </a:ext>
            </a:extLst>
          </p:cNvPr>
          <p:cNvSpPr/>
          <p:nvPr/>
        </p:nvSpPr>
        <p:spPr>
          <a:xfrm>
            <a:off x="5516836" y="2381532"/>
            <a:ext cx="151852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False positive</a:t>
            </a:r>
            <a:endParaRPr lang="en-US" sz="2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A7D667-75C4-4366-A55E-B5A00DDD9211}"/>
              </a:ext>
            </a:extLst>
          </p:cNvPr>
          <p:cNvSpPr/>
          <p:nvPr/>
        </p:nvSpPr>
        <p:spPr>
          <a:xfrm>
            <a:off x="5445990" y="3402996"/>
            <a:ext cx="165967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True negative</a:t>
            </a:r>
          </a:p>
        </p:txBody>
      </p:sp>
      <p:sp>
        <p:nvSpPr>
          <p:cNvPr id="26" name="Rounded Rectangle 5">
            <a:extLst>
              <a:ext uri="{FF2B5EF4-FFF2-40B4-BE49-F238E27FC236}">
                <a16:creationId xmlns:a16="http://schemas.microsoft.com/office/drawing/2014/main" id="{DD9E1132-942F-45E9-8E97-28595B50462B}"/>
              </a:ext>
            </a:extLst>
          </p:cNvPr>
          <p:cNvSpPr/>
          <p:nvPr/>
        </p:nvSpPr>
        <p:spPr>
          <a:xfrm flipV="1">
            <a:off x="3710374" y="3265483"/>
            <a:ext cx="1583385" cy="1026600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81BC00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A127E3D-04F7-45CE-A85F-7A3EF623B968}"/>
              </a:ext>
            </a:extLst>
          </p:cNvPr>
          <p:cNvSpPr/>
          <p:nvPr/>
        </p:nvSpPr>
        <p:spPr>
          <a:xfrm>
            <a:off x="3870154" y="3402996"/>
            <a:ext cx="172509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False negative</a:t>
            </a:r>
            <a:endParaRPr lang="en-US" sz="2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8" name="Freeform 7">
            <a:extLst>
              <a:ext uri="{FF2B5EF4-FFF2-40B4-BE49-F238E27FC236}">
                <a16:creationId xmlns:a16="http://schemas.microsoft.com/office/drawing/2014/main" id="{CC45F3B8-7340-4925-9F75-AD2998BBF03E}"/>
              </a:ext>
            </a:extLst>
          </p:cNvPr>
          <p:cNvSpPr>
            <a:spLocks/>
          </p:cNvSpPr>
          <p:nvPr/>
        </p:nvSpPr>
        <p:spPr bwMode="auto">
          <a:xfrm>
            <a:off x="3670681" y="1718648"/>
            <a:ext cx="1611320" cy="964450"/>
          </a:xfrm>
          <a:custGeom>
            <a:avLst/>
            <a:gdLst>
              <a:gd name="T0" fmla="*/ 882 w 882"/>
              <a:gd name="T1" fmla="*/ 185 h 764"/>
              <a:gd name="T2" fmla="*/ 683 w 882"/>
              <a:gd name="T3" fmla="*/ 0 h 764"/>
              <a:gd name="T4" fmla="*/ 200 w 882"/>
              <a:gd name="T5" fmla="*/ 0 h 764"/>
              <a:gd name="T6" fmla="*/ 0 w 882"/>
              <a:gd name="T7" fmla="*/ 200 h 764"/>
              <a:gd name="T8" fmla="*/ 200 w 882"/>
              <a:gd name="T9" fmla="*/ 399 h 764"/>
              <a:gd name="T10" fmla="*/ 650 w 882"/>
              <a:gd name="T11" fmla="*/ 399 h 764"/>
              <a:gd name="T12" fmla="*/ 882 w 882"/>
              <a:gd name="T13" fmla="*/ 764 h 764"/>
              <a:gd name="T14" fmla="*/ 882 w 882"/>
              <a:gd name="T15" fmla="*/ 185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2" h="764">
                <a:moveTo>
                  <a:pt x="882" y="185"/>
                </a:moveTo>
                <a:cubicBezTo>
                  <a:pt x="874" y="82"/>
                  <a:pt x="788" y="0"/>
                  <a:pt x="683" y="0"/>
                </a:cubicBez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89"/>
                  <a:pt x="0" y="200"/>
                </a:cubicBezTo>
                <a:cubicBezTo>
                  <a:pt x="0" y="310"/>
                  <a:pt x="90" y="399"/>
                  <a:pt x="200" y="399"/>
                </a:cubicBezTo>
                <a:cubicBezTo>
                  <a:pt x="650" y="399"/>
                  <a:pt x="650" y="399"/>
                  <a:pt x="650" y="399"/>
                </a:cubicBezTo>
                <a:cubicBezTo>
                  <a:pt x="759" y="419"/>
                  <a:pt x="835" y="501"/>
                  <a:pt x="882" y="764"/>
                </a:cubicBezTo>
                <a:cubicBezTo>
                  <a:pt x="882" y="185"/>
                  <a:pt x="882" y="185"/>
                  <a:pt x="882" y="185"/>
                </a:cubicBezTo>
                <a:close/>
              </a:path>
            </a:pathLst>
          </a:custGeom>
          <a:solidFill>
            <a:srgbClr val="002776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9" name="Freeform 7">
            <a:extLst>
              <a:ext uri="{FF2B5EF4-FFF2-40B4-BE49-F238E27FC236}">
                <a16:creationId xmlns:a16="http://schemas.microsoft.com/office/drawing/2014/main" id="{249C08F5-052B-4303-87EF-733808EBF1B9}"/>
              </a:ext>
            </a:extLst>
          </p:cNvPr>
          <p:cNvSpPr>
            <a:spLocks/>
          </p:cNvSpPr>
          <p:nvPr/>
        </p:nvSpPr>
        <p:spPr bwMode="auto">
          <a:xfrm flipH="1">
            <a:off x="5339474" y="1718648"/>
            <a:ext cx="1634751" cy="964450"/>
          </a:xfrm>
          <a:custGeom>
            <a:avLst/>
            <a:gdLst>
              <a:gd name="T0" fmla="*/ 882 w 882"/>
              <a:gd name="T1" fmla="*/ 185 h 764"/>
              <a:gd name="T2" fmla="*/ 683 w 882"/>
              <a:gd name="T3" fmla="*/ 0 h 764"/>
              <a:gd name="T4" fmla="*/ 200 w 882"/>
              <a:gd name="T5" fmla="*/ 0 h 764"/>
              <a:gd name="T6" fmla="*/ 0 w 882"/>
              <a:gd name="T7" fmla="*/ 200 h 764"/>
              <a:gd name="T8" fmla="*/ 200 w 882"/>
              <a:gd name="T9" fmla="*/ 399 h 764"/>
              <a:gd name="T10" fmla="*/ 650 w 882"/>
              <a:gd name="T11" fmla="*/ 399 h 764"/>
              <a:gd name="T12" fmla="*/ 882 w 882"/>
              <a:gd name="T13" fmla="*/ 764 h 764"/>
              <a:gd name="T14" fmla="*/ 882 w 882"/>
              <a:gd name="T15" fmla="*/ 185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2" h="764">
                <a:moveTo>
                  <a:pt x="882" y="185"/>
                </a:moveTo>
                <a:cubicBezTo>
                  <a:pt x="874" y="82"/>
                  <a:pt x="788" y="0"/>
                  <a:pt x="683" y="0"/>
                </a:cubicBez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89"/>
                  <a:pt x="0" y="200"/>
                </a:cubicBezTo>
                <a:cubicBezTo>
                  <a:pt x="0" y="310"/>
                  <a:pt x="90" y="399"/>
                  <a:pt x="200" y="399"/>
                </a:cubicBezTo>
                <a:cubicBezTo>
                  <a:pt x="650" y="399"/>
                  <a:pt x="650" y="399"/>
                  <a:pt x="650" y="399"/>
                </a:cubicBezTo>
                <a:cubicBezTo>
                  <a:pt x="759" y="419"/>
                  <a:pt x="835" y="501"/>
                  <a:pt x="882" y="764"/>
                </a:cubicBezTo>
                <a:cubicBezTo>
                  <a:pt x="882" y="185"/>
                  <a:pt x="882" y="185"/>
                  <a:pt x="882" y="185"/>
                </a:cubicBezTo>
                <a:close/>
              </a:path>
            </a:pathLst>
          </a:custGeom>
          <a:solidFill>
            <a:srgbClr val="BDD203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3FF3367-F466-4D7C-A392-8EC8203F6102}"/>
              </a:ext>
            </a:extLst>
          </p:cNvPr>
          <p:cNvSpPr/>
          <p:nvPr/>
        </p:nvSpPr>
        <p:spPr>
          <a:xfrm>
            <a:off x="4038597" y="1859360"/>
            <a:ext cx="1066800" cy="1905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b="1" kern="0" dirty="0">
                <a:solidFill>
                  <a:sysClr val="window" lastClr="FFFFFF"/>
                </a:solidFill>
                <a:latin typeface="Calibri"/>
              </a:rPr>
              <a:t>Disease Prese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EDF6E6C-E488-4BA2-A303-36E7BD970539}"/>
              </a:ext>
            </a:extLst>
          </p:cNvPr>
          <p:cNvSpPr/>
          <p:nvPr/>
        </p:nvSpPr>
        <p:spPr>
          <a:xfrm>
            <a:off x="5335787" y="1852779"/>
            <a:ext cx="1290827" cy="1905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defRPr/>
            </a:pPr>
            <a:r>
              <a:rPr lang="en-US" b="1" kern="0" dirty="0">
                <a:solidFill>
                  <a:sysClr val="window" lastClr="FFFFFF"/>
                </a:solidFill>
                <a:latin typeface="Calibri"/>
              </a:rPr>
              <a:t>Disease Absent</a:t>
            </a:r>
          </a:p>
        </p:txBody>
      </p:sp>
      <p:sp>
        <p:nvSpPr>
          <p:cNvPr id="32" name="Rounded Rectangle 16">
            <a:extLst>
              <a:ext uri="{FF2B5EF4-FFF2-40B4-BE49-F238E27FC236}">
                <a16:creationId xmlns:a16="http://schemas.microsoft.com/office/drawing/2014/main" id="{D9B89C23-5574-4414-9C95-89B1052871B6}"/>
              </a:ext>
            </a:extLst>
          </p:cNvPr>
          <p:cNvSpPr/>
          <p:nvPr/>
        </p:nvSpPr>
        <p:spPr>
          <a:xfrm>
            <a:off x="1981200" y="2209800"/>
            <a:ext cx="1675645" cy="1016486"/>
          </a:xfrm>
          <a:prstGeom prst="roundRect">
            <a:avLst>
              <a:gd name="adj" fmla="val 10178"/>
            </a:avLst>
          </a:prstGeom>
          <a:solidFill>
            <a:srgbClr val="313131">
              <a:lumMod val="75000"/>
              <a:lumOff val="2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Test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positiv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33" name="Rounded Rectangle 17">
            <a:extLst>
              <a:ext uri="{FF2B5EF4-FFF2-40B4-BE49-F238E27FC236}">
                <a16:creationId xmlns:a16="http://schemas.microsoft.com/office/drawing/2014/main" id="{235B5E48-5367-40E0-881F-8149D7E3699E}"/>
              </a:ext>
            </a:extLst>
          </p:cNvPr>
          <p:cNvSpPr/>
          <p:nvPr/>
        </p:nvSpPr>
        <p:spPr>
          <a:xfrm>
            <a:off x="1981200" y="3277009"/>
            <a:ext cx="1695745" cy="1012748"/>
          </a:xfrm>
          <a:prstGeom prst="roundRect">
            <a:avLst>
              <a:gd name="adj" fmla="val 10178"/>
            </a:avLst>
          </a:prstGeom>
          <a:solidFill>
            <a:srgbClr val="00A1DE"/>
          </a:solidFill>
          <a:ln w="12700" cap="flat" cmpd="sng" algn="ctr">
            <a:noFill/>
            <a:prstDash val="soli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Test negativ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43416822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23B8C7C-9CBA-426A-B525-E8D88EA0BE5E}"/>
              </a:ext>
            </a:extLst>
          </p:cNvPr>
          <p:cNvSpPr txBox="1">
            <a:spLocks/>
          </p:cNvSpPr>
          <p:nvPr/>
        </p:nvSpPr>
        <p:spPr>
          <a:xfrm>
            <a:off x="-31519" y="0"/>
            <a:ext cx="82296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Confusion Matrix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24" name="Rounded Rectangle 5">
            <a:extLst>
              <a:ext uri="{FF2B5EF4-FFF2-40B4-BE49-F238E27FC236}">
                <a16:creationId xmlns:a16="http://schemas.microsoft.com/office/drawing/2014/main" id="{7F84821A-84D1-47BB-BB56-2A1A49113AF2}"/>
              </a:ext>
            </a:extLst>
          </p:cNvPr>
          <p:cNvSpPr/>
          <p:nvPr/>
        </p:nvSpPr>
        <p:spPr>
          <a:xfrm>
            <a:off x="3886202" y="1432973"/>
            <a:ext cx="1609157" cy="1009240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72C7E7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5" name="Rounded Rectangle 5">
            <a:extLst>
              <a:ext uri="{FF2B5EF4-FFF2-40B4-BE49-F238E27FC236}">
                <a16:creationId xmlns:a16="http://schemas.microsoft.com/office/drawing/2014/main" id="{CD07B39C-E444-4A34-91BA-ED2350E0236E}"/>
              </a:ext>
            </a:extLst>
          </p:cNvPr>
          <p:cNvSpPr/>
          <p:nvPr/>
        </p:nvSpPr>
        <p:spPr>
          <a:xfrm>
            <a:off x="5520760" y="2427704"/>
            <a:ext cx="1609157" cy="1023569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00A1DE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6" name="Rounded Rectangle 5">
            <a:extLst>
              <a:ext uri="{FF2B5EF4-FFF2-40B4-BE49-F238E27FC236}">
                <a16:creationId xmlns:a16="http://schemas.microsoft.com/office/drawing/2014/main" id="{906CBAFA-7DC6-4699-92CA-FC83DA3FA8B4}"/>
              </a:ext>
            </a:extLst>
          </p:cNvPr>
          <p:cNvSpPr/>
          <p:nvPr/>
        </p:nvSpPr>
        <p:spPr>
          <a:xfrm flipV="1">
            <a:off x="5518994" y="1432799"/>
            <a:ext cx="1594231" cy="1007604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8C8C8C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A96D547-C1CE-437D-865E-693062263494}"/>
              </a:ext>
            </a:extLst>
          </p:cNvPr>
          <p:cNvSpPr/>
          <p:nvPr/>
        </p:nvSpPr>
        <p:spPr>
          <a:xfrm>
            <a:off x="4394510" y="1704651"/>
            <a:ext cx="174783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TP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09F470-AB98-4EB0-A0B8-5CB47E499C65}"/>
              </a:ext>
            </a:extLst>
          </p:cNvPr>
          <p:cNvSpPr/>
          <p:nvPr/>
        </p:nvSpPr>
        <p:spPr>
          <a:xfrm>
            <a:off x="6101356" y="1704950"/>
            <a:ext cx="151852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FN</a:t>
            </a:r>
            <a:endParaRPr lang="en-US" sz="2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65A8204-7BDD-4E89-B958-6AD87F5F0D65}"/>
              </a:ext>
            </a:extLst>
          </p:cNvPr>
          <p:cNvSpPr/>
          <p:nvPr/>
        </p:nvSpPr>
        <p:spPr>
          <a:xfrm>
            <a:off x="6030510" y="2775487"/>
            <a:ext cx="165967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TN</a:t>
            </a:r>
          </a:p>
        </p:txBody>
      </p:sp>
      <p:sp>
        <p:nvSpPr>
          <p:cNvPr id="30" name="Rounded Rectangle 5">
            <a:extLst>
              <a:ext uri="{FF2B5EF4-FFF2-40B4-BE49-F238E27FC236}">
                <a16:creationId xmlns:a16="http://schemas.microsoft.com/office/drawing/2014/main" id="{50BB23BF-95E8-4754-A64D-49DDD1EEE6E1}"/>
              </a:ext>
            </a:extLst>
          </p:cNvPr>
          <p:cNvSpPr/>
          <p:nvPr/>
        </p:nvSpPr>
        <p:spPr>
          <a:xfrm flipV="1">
            <a:off x="3906847" y="2432618"/>
            <a:ext cx="1583385" cy="1018116"/>
          </a:xfrm>
          <a:custGeom>
            <a:avLst/>
            <a:gdLst>
              <a:gd name="connsiteX0" fmla="*/ 0 w 2354580"/>
              <a:gd name="connsiteY0" fmla="*/ 398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398782 h 1432560"/>
              <a:gd name="connsiteX0" fmla="*/ 0 w 2362200"/>
              <a:gd name="connsiteY0" fmla="*/ 102717 h 1517495"/>
              <a:gd name="connsiteX1" fmla="*/ 406402 w 2362200"/>
              <a:gd name="connsiteY1" fmla="*/ 84935 h 1517495"/>
              <a:gd name="connsiteX2" fmla="*/ 1963418 w 2362200"/>
              <a:gd name="connsiteY2" fmla="*/ 84935 h 1517495"/>
              <a:gd name="connsiteX3" fmla="*/ 2362200 w 2362200"/>
              <a:gd name="connsiteY3" fmla="*/ 483717 h 1517495"/>
              <a:gd name="connsiteX4" fmla="*/ 2362200 w 2362200"/>
              <a:gd name="connsiteY4" fmla="*/ 1118713 h 1517495"/>
              <a:gd name="connsiteX5" fmla="*/ 1963418 w 2362200"/>
              <a:gd name="connsiteY5" fmla="*/ 1517495 h 1517495"/>
              <a:gd name="connsiteX6" fmla="*/ 406402 w 2362200"/>
              <a:gd name="connsiteY6" fmla="*/ 1517495 h 1517495"/>
              <a:gd name="connsiteX7" fmla="*/ 7620 w 2362200"/>
              <a:gd name="connsiteY7" fmla="*/ 1118713 h 1517495"/>
              <a:gd name="connsiteX8" fmla="*/ 0 w 2362200"/>
              <a:gd name="connsiteY8" fmla="*/ 102717 h 1517495"/>
              <a:gd name="connsiteX0" fmla="*/ 0 w 2362200"/>
              <a:gd name="connsiteY0" fmla="*/ 1778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17782 h 1432560"/>
              <a:gd name="connsiteX0" fmla="*/ 0 w 2362200"/>
              <a:gd name="connsiteY0" fmla="*/ 2542 h 1432560"/>
              <a:gd name="connsiteX1" fmla="*/ 406402 w 2362200"/>
              <a:gd name="connsiteY1" fmla="*/ 0 h 1432560"/>
              <a:gd name="connsiteX2" fmla="*/ 1963418 w 2362200"/>
              <a:gd name="connsiteY2" fmla="*/ 0 h 1432560"/>
              <a:gd name="connsiteX3" fmla="*/ 2362200 w 2362200"/>
              <a:gd name="connsiteY3" fmla="*/ 398782 h 1432560"/>
              <a:gd name="connsiteX4" fmla="*/ 2362200 w 2362200"/>
              <a:gd name="connsiteY4" fmla="*/ 1033778 h 1432560"/>
              <a:gd name="connsiteX5" fmla="*/ 1963418 w 2362200"/>
              <a:gd name="connsiteY5" fmla="*/ 1432560 h 1432560"/>
              <a:gd name="connsiteX6" fmla="*/ 406402 w 2362200"/>
              <a:gd name="connsiteY6" fmla="*/ 1432560 h 1432560"/>
              <a:gd name="connsiteX7" fmla="*/ 7620 w 2362200"/>
              <a:gd name="connsiteY7" fmla="*/ 1033778 h 1432560"/>
              <a:gd name="connsiteX8" fmla="*/ 0 w 2362200"/>
              <a:gd name="connsiteY8" fmla="*/ 2542 h 1432560"/>
              <a:gd name="connsiteX0" fmla="*/ 0 w 2354580"/>
              <a:gd name="connsiteY0" fmla="*/ 17782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0 w 2354580"/>
              <a:gd name="connsiteY8" fmla="*/ 17782 h 1432560"/>
              <a:gd name="connsiteX0" fmla="*/ 0 w 2354580"/>
              <a:gd name="connsiteY0" fmla="*/ 0 h 1433828"/>
              <a:gd name="connsiteX1" fmla="*/ 398782 w 2354580"/>
              <a:gd name="connsiteY1" fmla="*/ 1268 h 1433828"/>
              <a:gd name="connsiteX2" fmla="*/ 1955798 w 2354580"/>
              <a:gd name="connsiteY2" fmla="*/ 1268 h 1433828"/>
              <a:gd name="connsiteX3" fmla="*/ 2354580 w 2354580"/>
              <a:gd name="connsiteY3" fmla="*/ 400050 h 1433828"/>
              <a:gd name="connsiteX4" fmla="*/ 2354580 w 2354580"/>
              <a:gd name="connsiteY4" fmla="*/ 1035046 h 1433828"/>
              <a:gd name="connsiteX5" fmla="*/ 1955798 w 2354580"/>
              <a:gd name="connsiteY5" fmla="*/ 1433828 h 1433828"/>
              <a:gd name="connsiteX6" fmla="*/ 398782 w 2354580"/>
              <a:gd name="connsiteY6" fmla="*/ 1433828 h 1433828"/>
              <a:gd name="connsiteX7" fmla="*/ 0 w 2354580"/>
              <a:gd name="connsiteY7" fmla="*/ 1035046 h 1433828"/>
              <a:gd name="connsiteX8" fmla="*/ 0 w 2354580"/>
              <a:gd name="connsiteY8" fmla="*/ 0 h 1433828"/>
              <a:gd name="connsiteX0" fmla="*/ 4763 w 2354580"/>
              <a:gd name="connsiteY0" fmla="*/ 3494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3494 h 1432560"/>
              <a:gd name="connsiteX0" fmla="*/ 2382 w 2354580"/>
              <a:gd name="connsiteY0" fmla="*/ 0 h 1436210"/>
              <a:gd name="connsiteX1" fmla="*/ 398782 w 2354580"/>
              <a:gd name="connsiteY1" fmla="*/ 3650 h 1436210"/>
              <a:gd name="connsiteX2" fmla="*/ 1955798 w 2354580"/>
              <a:gd name="connsiteY2" fmla="*/ 3650 h 1436210"/>
              <a:gd name="connsiteX3" fmla="*/ 2354580 w 2354580"/>
              <a:gd name="connsiteY3" fmla="*/ 402432 h 1436210"/>
              <a:gd name="connsiteX4" fmla="*/ 2354580 w 2354580"/>
              <a:gd name="connsiteY4" fmla="*/ 1037428 h 1436210"/>
              <a:gd name="connsiteX5" fmla="*/ 1955798 w 2354580"/>
              <a:gd name="connsiteY5" fmla="*/ 1436210 h 1436210"/>
              <a:gd name="connsiteX6" fmla="*/ 398782 w 2354580"/>
              <a:gd name="connsiteY6" fmla="*/ 1436210 h 1436210"/>
              <a:gd name="connsiteX7" fmla="*/ 0 w 2354580"/>
              <a:gd name="connsiteY7" fmla="*/ 1037428 h 1436210"/>
              <a:gd name="connsiteX8" fmla="*/ 2382 w 2354580"/>
              <a:gd name="connsiteY8" fmla="*/ 0 h 1436210"/>
              <a:gd name="connsiteX0" fmla="*/ 4763 w 2354580"/>
              <a:gd name="connsiteY0" fmla="*/ 5875 h 1432560"/>
              <a:gd name="connsiteX1" fmla="*/ 398782 w 2354580"/>
              <a:gd name="connsiteY1" fmla="*/ 0 h 1432560"/>
              <a:gd name="connsiteX2" fmla="*/ 1955798 w 2354580"/>
              <a:gd name="connsiteY2" fmla="*/ 0 h 1432560"/>
              <a:gd name="connsiteX3" fmla="*/ 2354580 w 2354580"/>
              <a:gd name="connsiteY3" fmla="*/ 398782 h 1432560"/>
              <a:gd name="connsiteX4" fmla="*/ 2354580 w 2354580"/>
              <a:gd name="connsiteY4" fmla="*/ 1033778 h 1432560"/>
              <a:gd name="connsiteX5" fmla="*/ 1955798 w 2354580"/>
              <a:gd name="connsiteY5" fmla="*/ 1432560 h 1432560"/>
              <a:gd name="connsiteX6" fmla="*/ 398782 w 2354580"/>
              <a:gd name="connsiteY6" fmla="*/ 1432560 h 1432560"/>
              <a:gd name="connsiteX7" fmla="*/ 0 w 2354580"/>
              <a:gd name="connsiteY7" fmla="*/ 1033778 h 1432560"/>
              <a:gd name="connsiteX8" fmla="*/ 4763 w 2354580"/>
              <a:gd name="connsiteY8" fmla="*/ 5875 h 1432560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354580"/>
              <a:gd name="connsiteY0" fmla="*/ 0 h 1433829"/>
              <a:gd name="connsiteX1" fmla="*/ 398782 w 2354580"/>
              <a:gd name="connsiteY1" fmla="*/ 1269 h 1433829"/>
              <a:gd name="connsiteX2" fmla="*/ 1955798 w 2354580"/>
              <a:gd name="connsiteY2" fmla="*/ 1269 h 1433829"/>
              <a:gd name="connsiteX3" fmla="*/ 2354580 w 2354580"/>
              <a:gd name="connsiteY3" fmla="*/ 400051 h 1433829"/>
              <a:gd name="connsiteX4" fmla="*/ 2354580 w 2354580"/>
              <a:gd name="connsiteY4" fmla="*/ 1035047 h 1433829"/>
              <a:gd name="connsiteX5" fmla="*/ 1955798 w 2354580"/>
              <a:gd name="connsiteY5" fmla="*/ 1433829 h 1433829"/>
              <a:gd name="connsiteX6" fmla="*/ 398782 w 2354580"/>
              <a:gd name="connsiteY6" fmla="*/ 1433829 h 1433829"/>
              <a:gd name="connsiteX7" fmla="*/ 0 w 2354580"/>
              <a:gd name="connsiteY7" fmla="*/ 1035047 h 1433829"/>
              <a:gd name="connsiteX8" fmla="*/ 4763 w 2354580"/>
              <a:gd name="connsiteY8" fmla="*/ 0 h 1433829"/>
              <a:gd name="connsiteX0" fmla="*/ 4763 w 2432776"/>
              <a:gd name="connsiteY0" fmla="*/ 0 h 1433829"/>
              <a:gd name="connsiteX1" fmla="*/ 398782 w 2432776"/>
              <a:gd name="connsiteY1" fmla="*/ 1269 h 1433829"/>
              <a:gd name="connsiteX2" fmla="*/ 1955798 w 2432776"/>
              <a:gd name="connsiteY2" fmla="*/ 1269 h 1433829"/>
              <a:gd name="connsiteX3" fmla="*/ 2354580 w 2432776"/>
              <a:gd name="connsiteY3" fmla="*/ 400051 h 1433829"/>
              <a:gd name="connsiteX4" fmla="*/ 2354580 w 2432776"/>
              <a:gd name="connsiteY4" fmla="*/ 1035047 h 1433829"/>
              <a:gd name="connsiteX5" fmla="*/ 2327273 w 2432776"/>
              <a:gd name="connsiteY5" fmla="*/ 1433829 h 1433829"/>
              <a:gd name="connsiteX6" fmla="*/ 398782 w 2432776"/>
              <a:gd name="connsiteY6" fmla="*/ 1433829 h 1433829"/>
              <a:gd name="connsiteX7" fmla="*/ 0 w 2432776"/>
              <a:gd name="connsiteY7" fmla="*/ 1035047 h 1433829"/>
              <a:gd name="connsiteX8" fmla="*/ 4763 w 2432776"/>
              <a:gd name="connsiteY8" fmla="*/ 0 h 1433829"/>
              <a:gd name="connsiteX0" fmla="*/ 4763 w 2441222"/>
              <a:gd name="connsiteY0" fmla="*/ 0 h 1433829"/>
              <a:gd name="connsiteX1" fmla="*/ 398782 w 2441222"/>
              <a:gd name="connsiteY1" fmla="*/ 1269 h 1433829"/>
              <a:gd name="connsiteX2" fmla="*/ 1955798 w 2441222"/>
              <a:gd name="connsiteY2" fmla="*/ 1269 h 1433829"/>
              <a:gd name="connsiteX3" fmla="*/ 2354580 w 2441222"/>
              <a:gd name="connsiteY3" fmla="*/ 400051 h 1433829"/>
              <a:gd name="connsiteX4" fmla="*/ 2354580 w 2441222"/>
              <a:gd name="connsiteY4" fmla="*/ 1035047 h 1433829"/>
              <a:gd name="connsiteX5" fmla="*/ 2339179 w 2441222"/>
              <a:gd name="connsiteY5" fmla="*/ 1431447 h 1433829"/>
              <a:gd name="connsiteX6" fmla="*/ 398782 w 2441222"/>
              <a:gd name="connsiteY6" fmla="*/ 1433829 h 1433829"/>
              <a:gd name="connsiteX7" fmla="*/ 0 w 2441222"/>
              <a:gd name="connsiteY7" fmla="*/ 1035047 h 1433829"/>
              <a:gd name="connsiteX8" fmla="*/ 4763 w 2441222"/>
              <a:gd name="connsiteY8" fmla="*/ 0 h 1433829"/>
              <a:gd name="connsiteX0" fmla="*/ 4763 w 2449885"/>
              <a:gd name="connsiteY0" fmla="*/ 0 h 1433829"/>
              <a:gd name="connsiteX1" fmla="*/ 398782 w 2449885"/>
              <a:gd name="connsiteY1" fmla="*/ 1269 h 1433829"/>
              <a:gd name="connsiteX2" fmla="*/ 1955798 w 2449885"/>
              <a:gd name="connsiteY2" fmla="*/ 1269 h 1433829"/>
              <a:gd name="connsiteX3" fmla="*/ 2354580 w 2449885"/>
              <a:gd name="connsiteY3" fmla="*/ 400051 h 1433829"/>
              <a:gd name="connsiteX4" fmla="*/ 2354580 w 2449885"/>
              <a:gd name="connsiteY4" fmla="*/ 1035047 h 1433829"/>
              <a:gd name="connsiteX5" fmla="*/ 2351086 w 2449885"/>
              <a:gd name="connsiteY5" fmla="*/ 1433828 h 1433829"/>
              <a:gd name="connsiteX6" fmla="*/ 398782 w 2449885"/>
              <a:gd name="connsiteY6" fmla="*/ 1433829 h 1433829"/>
              <a:gd name="connsiteX7" fmla="*/ 0 w 2449885"/>
              <a:gd name="connsiteY7" fmla="*/ 1035047 h 1433829"/>
              <a:gd name="connsiteX8" fmla="*/ 4763 w 2449885"/>
              <a:gd name="connsiteY8" fmla="*/ 0 h 1433829"/>
              <a:gd name="connsiteX0" fmla="*/ 4763 w 2355967"/>
              <a:gd name="connsiteY0" fmla="*/ 0 h 1433829"/>
              <a:gd name="connsiteX1" fmla="*/ 398782 w 2355967"/>
              <a:gd name="connsiteY1" fmla="*/ 1269 h 1433829"/>
              <a:gd name="connsiteX2" fmla="*/ 1955798 w 2355967"/>
              <a:gd name="connsiteY2" fmla="*/ 1269 h 1433829"/>
              <a:gd name="connsiteX3" fmla="*/ 2354580 w 2355967"/>
              <a:gd name="connsiteY3" fmla="*/ 400051 h 1433829"/>
              <a:gd name="connsiteX4" fmla="*/ 2354580 w 2355967"/>
              <a:gd name="connsiteY4" fmla="*/ 1035047 h 1433829"/>
              <a:gd name="connsiteX5" fmla="*/ 2351086 w 2355967"/>
              <a:gd name="connsiteY5" fmla="*/ 1433828 h 1433829"/>
              <a:gd name="connsiteX6" fmla="*/ 398782 w 2355967"/>
              <a:gd name="connsiteY6" fmla="*/ 1433829 h 1433829"/>
              <a:gd name="connsiteX7" fmla="*/ 0 w 2355967"/>
              <a:gd name="connsiteY7" fmla="*/ 1035047 h 1433829"/>
              <a:gd name="connsiteX8" fmla="*/ 4763 w 2355967"/>
              <a:gd name="connsiteY8" fmla="*/ 0 h 143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5967" h="1433829">
                <a:moveTo>
                  <a:pt x="4763" y="0"/>
                </a:moveTo>
                <a:cubicBezTo>
                  <a:pt x="30957" y="1215"/>
                  <a:pt x="178541" y="1269"/>
                  <a:pt x="398782" y="1269"/>
                </a:cubicBezTo>
                <a:lnTo>
                  <a:pt x="1955798" y="1269"/>
                </a:lnTo>
                <a:cubicBezTo>
                  <a:pt x="2176039" y="1269"/>
                  <a:pt x="2354580" y="179810"/>
                  <a:pt x="2354580" y="400051"/>
                </a:cubicBezTo>
                <a:lnTo>
                  <a:pt x="2354580" y="1035047"/>
                </a:lnTo>
                <a:cubicBezTo>
                  <a:pt x="2354580" y="1255288"/>
                  <a:pt x="2359396" y="1431446"/>
                  <a:pt x="2351086" y="1433828"/>
                </a:cubicBezTo>
                <a:lnTo>
                  <a:pt x="398782" y="1433829"/>
                </a:lnTo>
                <a:cubicBezTo>
                  <a:pt x="178541" y="1433829"/>
                  <a:pt x="0" y="1255288"/>
                  <a:pt x="0" y="1035047"/>
                </a:cubicBezTo>
                <a:cubicBezTo>
                  <a:pt x="1588" y="691619"/>
                  <a:pt x="3175" y="343428"/>
                  <a:pt x="4763" y="0"/>
                </a:cubicBezTo>
                <a:close/>
              </a:path>
            </a:pathLst>
          </a:custGeom>
          <a:solidFill>
            <a:srgbClr val="81BC00"/>
          </a:solidFill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7B92D6-CC8B-48C2-B379-C5B7762E59BC}"/>
              </a:ext>
            </a:extLst>
          </p:cNvPr>
          <p:cNvSpPr/>
          <p:nvPr/>
        </p:nvSpPr>
        <p:spPr>
          <a:xfrm>
            <a:off x="4454672" y="2775488"/>
            <a:ext cx="17250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800" b="1" kern="0" dirty="0">
                <a:solidFill>
                  <a:sysClr val="window" lastClr="FFFFFF"/>
                </a:solidFill>
                <a:latin typeface="Calibri"/>
              </a:rPr>
              <a:t>FP</a:t>
            </a:r>
            <a:endParaRPr lang="en-US" sz="2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32" name="Freeform 7">
            <a:extLst>
              <a:ext uri="{FF2B5EF4-FFF2-40B4-BE49-F238E27FC236}">
                <a16:creationId xmlns:a16="http://schemas.microsoft.com/office/drawing/2014/main" id="{68DC60DA-CBEE-4ADF-9B29-14FBE85EEF04}"/>
              </a:ext>
            </a:extLst>
          </p:cNvPr>
          <p:cNvSpPr>
            <a:spLocks/>
          </p:cNvSpPr>
          <p:nvPr/>
        </p:nvSpPr>
        <p:spPr bwMode="auto">
          <a:xfrm>
            <a:off x="3889017" y="928040"/>
            <a:ext cx="1608504" cy="982412"/>
          </a:xfrm>
          <a:custGeom>
            <a:avLst/>
            <a:gdLst>
              <a:gd name="T0" fmla="*/ 882 w 882"/>
              <a:gd name="T1" fmla="*/ 185 h 764"/>
              <a:gd name="T2" fmla="*/ 683 w 882"/>
              <a:gd name="T3" fmla="*/ 0 h 764"/>
              <a:gd name="T4" fmla="*/ 200 w 882"/>
              <a:gd name="T5" fmla="*/ 0 h 764"/>
              <a:gd name="T6" fmla="*/ 0 w 882"/>
              <a:gd name="T7" fmla="*/ 200 h 764"/>
              <a:gd name="T8" fmla="*/ 200 w 882"/>
              <a:gd name="T9" fmla="*/ 399 h 764"/>
              <a:gd name="T10" fmla="*/ 650 w 882"/>
              <a:gd name="T11" fmla="*/ 399 h 764"/>
              <a:gd name="T12" fmla="*/ 882 w 882"/>
              <a:gd name="T13" fmla="*/ 764 h 764"/>
              <a:gd name="T14" fmla="*/ 882 w 882"/>
              <a:gd name="T15" fmla="*/ 185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2" h="764">
                <a:moveTo>
                  <a:pt x="882" y="185"/>
                </a:moveTo>
                <a:cubicBezTo>
                  <a:pt x="874" y="82"/>
                  <a:pt x="788" y="0"/>
                  <a:pt x="683" y="0"/>
                </a:cubicBez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89"/>
                  <a:pt x="0" y="200"/>
                </a:cubicBezTo>
                <a:cubicBezTo>
                  <a:pt x="0" y="310"/>
                  <a:pt x="90" y="399"/>
                  <a:pt x="200" y="399"/>
                </a:cubicBezTo>
                <a:cubicBezTo>
                  <a:pt x="650" y="399"/>
                  <a:pt x="650" y="399"/>
                  <a:pt x="650" y="399"/>
                </a:cubicBezTo>
                <a:cubicBezTo>
                  <a:pt x="759" y="419"/>
                  <a:pt x="835" y="501"/>
                  <a:pt x="882" y="764"/>
                </a:cubicBezTo>
                <a:cubicBezTo>
                  <a:pt x="882" y="185"/>
                  <a:pt x="882" y="185"/>
                  <a:pt x="882" y="185"/>
                </a:cubicBezTo>
                <a:close/>
              </a:path>
            </a:pathLst>
          </a:custGeom>
          <a:solidFill>
            <a:srgbClr val="002776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3" name="Freeform 7">
            <a:extLst>
              <a:ext uri="{FF2B5EF4-FFF2-40B4-BE49-F238E27FC236}">
                <a16:creationId xmlns:a16="http://schemas.microsoft.com/office/drawing/2014/main" id="{5B6E4452-077E-4A37-BA51-6C3CEB08E1F3}"/>
              </a:ext>
            </a:extLst>
          </p:cNvPr>
          <p:cNvSpPr>
            <a:spLocks/>
          </p:cNvSpPr>
          <p:nvPr/>
        </p:nvSpPr>
        <p:spPr bwMode="auto">
          <a:xfrm flipH="1">
            <a:off x="5508458" y="918202"/>
            <a:ext cx="1608504" cy="982412"/>
          </a:xfrm>
          <a:custGeom>
            <a:avLst/>
            <a:gdLst>
              <a:gd name="T0" fmla="*/ 882 w 882"/>
              <a:gd name="T1" fmla="*/ 185 h 764"/>
              <a:gd name="T2" fmla="*/ 683 w 882"/>
              <a:gd name="T3" fmla="*/ 0 h 764"/>
              <a:gd name="T4" fmla="*/ 200 w 882"/>
              <a:gd name="T5" fmla="*/ 0 h 764"/>
              <a:gd name="T6" fmla="*/ 0 w 882"/>
              <a:gd name="T7" fmla="*/ 200 h 764"/>
              <a:gd name="T8" fmla="*/ 200 w 882"/>
              <a:gd name="T9" fmla="*/ 399 h 764"/>
              <a:gd name="T10" fmla="*/ 650 w 882"/>
              <a:gd name="T11" fmla="*/ 399 h 764"/>
              <a:gd name="T12" fmla="*/ 882 w 882"/>
              <a:gd name="T13" fmla="*/ 764 h 764"/>
              <a:gd name="T14" fmla="*/ 882 w 882"/>
              <a:gd name="T15" fmla="*/ 185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2" h="764">
                <a:moveTo>
                  <a:pt x="882" y="185"/>
                </a:moveTo>
                <a:cubicBezTo>
                  <a:pt x="874" y="82"/>
                  <a:pt x="788" y="0"/>
                  <a:pt x="683" y="0"/>
                </a:cubicBez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89"/>
                  <a:pt x="0" y="200"/>
                </a:cubicBezTo>
                <a:cubicBezTo>
                  <a:pt x="0" y="310"/>
                  <a:pt x="90" y="399"/>
                  <a:pt x="200" y="399"/>
                </a:cubicBezTo>
                <a:cubicBezTo>
                  <a:pt x="650" y="399"/>
                  <a:pt x="650" y="399"/>
                  <a:pt x="650" y="399"/>
                </a:cubicBezTo>
                <a:cubicBezTo>
                  <a:pt x="759" y="419"/>
                  <a:pt x="835" y="501"/>
                  <a:pt x="882" y="764"/>
                </a:cubicBezTo>
                <a:cubicBezTo>
                  <a:pt x="882" y="185"/>
                  <a:pt x="882" y="185"/>
                  <a:pt x="882" y="185"/>
                </a:cubicBezTo>
                <a:close/>
              </a:path>
            </a:pathLst>
          </a:custGeom>
          <a:solidFill>
            <a:srgbClr val="BDD203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0CBB886-9314-473A-92B0-A106D000BAD9}"/>
              </a:ext>
            </a:extLst>
          </p:cNvPr>
          <p:cNvSpPr/>
          <p:nvPr/>
        </p:nvSpPr>
        <p:spPr>
          <a:xfrm>
            <a:off x="4235063" y="1038486"/>
            <a:ext cx="1066800" cy="18892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sz="1700" b="1" kern="0" dirty="0">
                <a:solidFill>
                  <a:sysClr val="window" lastClr="FFFFFF"/>
                </a:solidFill>
                <a:latin typeface="Calibri"/>
              </a:rPr>
              <a:t>Test +</a:t>
            </a:r>
            <a:r>
              <a:rPr lang="en-US" sz="1700" b="1" kern="0" dirty="0" err="1">
                <a:solidFill>
                  <a:sysClr val="window" lastClr="FFFFFF"/>
                </a:solidFill>
                <a:latin typeface="Calibri"/>
              </a:rPr>
              <a:t>ve</a:t>
            </a:r>
            <a:endParaRPr lang="en-US" sz="17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2D3A9E0-F93E-45AB-9A26-9EC3021FDB6A}"/>
              </a:ext>
            </a:extLst>
          </p:cNvPr>
          <p:cNvSpPr/>
          <p:nvPr/>
        </p:nvSpPr>
        <p:spPr>
          <a:xfrm>
            <a:off x="5530472" y="1036392"/>
            <a:ext cx="1290827" cy="18892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defRPr/>
            </a:pPr>
            <a:r>
              <a:rPr lang="en-US" sz="1700" b="1" kern="0" dirty="0">
                <a:solidFill>
                  <a:sysClr val="window" lastClr="FFFFFF"/>
                </a:solidFill>
                <a:latin typeface="Calibri"/>
              </a:rPr>
              <a:t>Test -</a:t>
            </a:r>
            <a:r>
              <a:rPr lang="en-US" sz="1700" b="1" kern="0" dirty="0" err="1">
                <a:solidFill>
                  <a:sysClr val="window" lastClr="FFFFFF"/>
                </a:solidFill>
                <a:latin typeface="Calibri"/>
              </a:rPr>
              <a:t>ve</a:t>
            </a:r>
            <a:endParaRPr lang="en-US" sz="17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36" name="Rounded Rectangle 16">
            <a:extLst>
              <a:ext uri="{FF2B5EF4-FFF2-40B4-BE49-F238E27FC236}">
                <a16:creationId xmlns:a16="http://schemas.microsoft.com/office/drawing/2014/main" id="{1A8794E9-F4CF-462B-B856-1F4D97EC57BC}"/>
              </a:ext>
            </a:extLst>
          </p:cNvPr>
          <p:cNvSpPr/>
          <p:nvPr/>
        </p:nvSpPr>
        <p:spPr>
          <a:xfrm>
            <a:off x="2177673" y="1390522"/>
            <a:ext cx="1675645" cy="1008085"/>
          </a:xfrm>
          <a:prstGeom prst="roundRect">
            <a:avLst>
              <a:gd name="adj" fmla="val 10178"/>
            </a:avLst>
          </a:prstGeom>
          <a:solidFill>
            <a:srgbClr val="313131">
              <a:lumMod val="75000"/>
              <a:lumOff val="2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Disease Presen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37" name="Rounded Rectangle 17">
            <a:extLst>
              <a:ext uri="{FF2B5EF4-FFF2-40B4-BE49-F238E27FC236}">
                <a16:creationId xmlns:a16="http://schemas.microsoft.com/office/drawing/2014/main" id="{1A352AEC-3C96-4017-B91B-D5A489A6FB9D}"/>
              </a:ext>
            </a:extLst>
          </p:cNvPr>
          <p:cNvSpPr/>
          <p:nvPr/>
        </p:nvSpPr>
        <p:spPr>
          <a:xfrm>
            <a:off x="2177673" y="2445007"/>
            <a:ext cx="1695745" cy="1004378"/>
          </a:xfrm>
          <a:prstGeom prst="roundRect">
            <a:avLst>
              <a:gd name="adj" fmla="val 10178"/>
            </a:avLst>
          </a:prstGeom>
          <a:solidFill>
            <a:srgbClr val="00A1DE"/>
          </a:solidFill>
          <a:ln w="12700" cap="flat" cmpd="sng" algn="ctr">
            <a:noFill/>
            <a:prstDash val="soli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Disease Absen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267A750-BDB8-489E-B642-3BDA3937C8AA}"/>
              </a:ext>
            </a:extLst>
          </p:cNvPr>
          <p:cNvSpPr txBox="1"/>
          <p:nvPr/>
        </p:nvSpPr>
        <p:spPr>
          <a:xfrm>
            <a:off x="32360" y="3651626"/>
            <a:ext cx="9140215" cy="1657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70000"/>
              </a:lnSpc>
              <a:buFont typeface="Arial"/>
              <a:buChar char="•"/>
            </a:pPr>
            <a:r>
              <a:rPr lang="en-US" b="1" dirty="0">
                <a:solidFill>
                  <a:srgbClr val="008000"/>
                </a:solidFill>
                <a:latin typeface="Calibri"/>
              </a:rPr>
              <a:t>True Positive (TP) = Patient with disease is told that he/she has disease</a:t>
            </a: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endParaRPr lang="en-US" b="1" dirty="0">
              <a:solidFill>
                <a:srgbClr val="008000"/>
              </a:solidFill>
              <a:latin typeface="Calibri"/>
            </a:endParaRP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r>
              <a:rPr lang="en-US" b="1" dirty="0">
                <a:solidFill>
                  <a:srgbClr val="008000"/>
                </a:solidFill>
                <a:latin typeface="Calibri"/>
              </a:rPr>
              <a:t>True Negative (TN) = Patient with no disease is told that he/she does not have disease</a:t>
            </a: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r>
              <a:rPr lang="en-US" b="1" dirty="0">
                <a:solidFill>
                  <a:srgbClr val="FF0000"/>
                </a:solidFill>
                <a:latin typeface="Calibri"/>
              </a:rPr>
              <a:t>False Negative (FN) = Patient with disease is told that he/she does not have disease</a:t>
            </a: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endParaRPr lang="en-US" b="1" dirty="0">
              <a:solidFill>
                <a:srgbClr val="FF0000"/>
              </a:solidFill>
              <a:latin typeface="Calibri"/>
            </a:endParaRP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r>
              <a:rPr lang="en-US" b="1" dirty="0">
                <a:solidFill>
                  <a:srgbClr val="FF0000"/>
                </a:solidFill>
                <a:latin typeface="Calibri"/>
              </a:rPr>
              <a:t>False Positive (FP) = Patient with no disease is told that he/she has disease</a:t>
            </a: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AD7E9A6-3C53-4696-AE61-822E3AD3C035}"/>
              </a:ext>
            </a:extLst>
          </p:cNvPr>
          <p:cNvSpPr txBox="1"/>
          <p:nvPr/>
        </p:nvSpPr>
        <p:spPr>
          <a:xfrm>
            <a:off x="4648200" y="411480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prstClr val="black"/>
                </a:solidFill>
                <a:latin typeface="Calibri"/>
              </a:rPr>
              <a:t>Predicted Clas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3D55027-F98F-4A8B-BA9F-2C126D0AD6D9}"/>
              </a:ext>
            </a:extLst>
          </p:cNvPr>
          <p:cNvSpPr txBox="1"/>
          <p:nvPr/>
        </p:nvSpPr>
        <p:spPr>
          <a:xfrm>
            <a:off x="1371600" y="1965963"/>
            <a:ext cx="2743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prstClr val="black"/>
                </a:solidFill>
                <a:latin typeface="Calibri"/>
              </a:rPr>
              <a:t>Actual </a:t>
            </a:r>
          </a:p>
          <a:p>
            <a:r>
              <a:rPr lang="en-US" b="1" i="1" dirty="0">
                <a:solidFill>
                  <a:prstClr val="black"/>
                </a:solidFill>
                <a:latin typeface="Calibri"/>
              </a:rPr>
              <a:t>Clas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5DD8700-F192-4A49-B575-A33B72EB4288}"/>
              </a:ext>
            </a:extLst>
          </p:cNvPr>
          <p:cNvSpPr txBox="1"/>
          <p:nvPr/>
        </p:nvSpPr>
        <p:spPr>
          <a:xfrm>
            <a:off x="9435" y="5665064"/>
            <a:ext cx="9140215" cy="881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70000"/>
              </a:lnSpc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Overall error rate = (FN+FP) / (TP+FN+FP+TN) </a:t>
            </a: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lnSpc>
                <a:spcPct val="70000"/>
              </a:lnSpc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Accuracy = 1 </a:t>
            </a:r>
            <a:r>
              <a:rPr lang="mr-IN" dirty="0">
                <a:solidFill>
                  <a:prstClr val="black"/>
                </a:solidFill>
                <a:latin typeface="Calibri"/>
              </a:rPr>
              <a:t>–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Overall error rate   OR   (TP+TN) / (TP+FN+FP+TN); 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Accuracy should be &gt; % of majority class </a:t>
            </a:r>
          </a:p>
          <a:p>
            <a:pPr>
              <a:lnSpc>
                <a:spcPct val="70000"/>
              </a:lnSpc>
            </a:pP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36269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/>
      <p:bldP spid="28" grpId="0"/>
      <p:bldP spid="29" grpId="0"/>
      <p:bldP spid="30" grpId="0" animBg="1"/>
      <p:bldP spid="31" grpId="0"/>
      <p:bldP spid="32" grpId="0" animBg="1"/>
      <p:bldP spid="33" grpId="0" animBg="1"/>
      <p:bldP spid="34" grpId="0"/>
      <p:bldP spid="35" grpId="0"/>
      <p:bldP spid="36" grpId="0" animBg="1"/>
      <p:bldP spid="37" grpId="0" animBg="1"/>
      <p:bldP spid="38" grpId="0"/>
      <p:bldP spid="39" grpId="0"/>
      <p:bldP spid="40" grpId="0"/>
      <p:bldP spid="4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95E3883-44B0-41B6-8F75-170CB5058C31}"/>
              </a:ext>
            </a:extLst>
          </p:cNvPr>
          <p:cNvSpPr txBox="1">
            <a:spLocks/>
          </p:cNvSpPr>
          <p:nvPr/>
        </p:nvSpPr>
        <p:spPr bwMode="gray"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13232" rtl="0" eaLnBrk="1" latinLnBrk="0" hangingPunct="1">
              <a:spcBef>
                <a:spcPct val="0"/>
              </a:spcBef>
              <a:buNone/>
              <a:defRPr sz="3500" b="1" i="0" kern="1200">
                <a:solidFill>
                  <a:srgbClr val="3E3D2D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r>
              <a:rPr lang="en-US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Types of Logistic Regression:</a:t>
            </a:r>
            <a:endParaRPr lang="en-US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9A97E32-6302-4B21-9A05-843C93497C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4076753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10D41BE-A761-4CD4-B14D-2A9FCCEF9D80}"/>
              </a:ext>
            </a:extLst>
          </p:cNvPr>
          <p:cNvSpPr txBox="1"/>
          <p:nvPr/>
        </p:nvSpPr>
        <p:spPr>
          <a:xfrm>
            <a:off x="5562600" y="1524000"/>
            <a:ext cx="304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 Single Independent Variable Model is called as Simple Logistic Regress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84EC04-DF0A-4234-A37B-8858C378475E}"/>
              </a:ext>
            </a:extLst>
          </p:cNvPr>
          <p:cNvSpPr txBox="1"/>
          <p:nvPr/>
        </p:nvSpPr>
        <p:spPr>
          <a:xfrm>
            <a:off x="5562600" y="4791670"/>
            <a:ext cx="304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 Multiple Independent Variable Model is called as Multiple Logistic Regression</a:t>
            </a:r>
          </a:p>
        </p:txBody>
      </p:sp>
    </p:spTree>
    <p:extLst>
      <p:ext uri="{BB962C8B-B14F-4D97-AF65-F5344CB8AC3E}">
        <p14:creationId xmlns:p14="http://schemas.microsoft.com/office/powerpoint/2010/main" val="123006289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0AD59-CED6-46B2-972A-63B3B3C5242D}"/>
              </a:ext>
            </a:extLst>
          </p:cNvPr>
          <p:cNvSpPr txBox="1">
            <a:spLocks/>
          </p:cNvSpPr>
          <p:nvPr/>
        </p:nvSpPr>
        <p:spPr>
          <a:xfrm>
            <a:off x="-31519" y="0"/>
            <a:ext cx="82296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Confusion Matrix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321F05-21ED-4651-B156-77FA9D49DE58}"/>
              </a:ext>
            </a:extLst>
          </p:cNvPr>
          <p:cNvSpPr txBox="1"/>
          <p:nvPr/>
        </p:nvSpPr>
        <p:spPr>
          <a:xfrm>
            <a:off x="457200" y="1051561"/>
            <a:ext cx="8305800" cy="4524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Precision = TP/(TP+FP) = TP/Predicted Positive = Prob. of correctly identifying a random patient with disease as having disease</a:t>
            </a:r>
          </a:p>
          <a:p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Sensitivity (Recall or Hit rate or True Positive Rate) = TP/(TP+FN) = TP/Actual Positive = Proportion of people with disease who are correctly identified as having disease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Specificity (True negative rate) = TN/(TN+FP) = Proportion of people with no disease being characterized as not having disease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P rate (Alpha or type I error) = 1 </a:t>
            </a:r>
            <a:r>
              <a:rPr lang="mr-IN" dirty="0">
                <a:solidFill>
                  <a:prstClr val="black"/>
                </a:solidFill>
                <a:latin typeface="Calibri"/>
              </a:rPr>
              <a:t>–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Specificity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N rate (Beta or type II error) = 1 </a:t>
            </a:r>
            <a:r>
              <a:rPr lang="mr-IN" dirty="0">
                <a:solidFill>
                  <a:prstClr val="black"/>
                </a:solidFill>
                <a:latin typeface="Calibri"/>
              </a:rPr>
              <a:t>–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Sensitivity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1 = 2 * ((Precision * Recall) / (Precision + Recall))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1: 1 to 0 &amp; defines a measure that balances precision &amp; recal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5884EF-7EA9-4E9C-888B-320FA81DB4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9187" y="3200400"/>
            <a:ext cx="3107538" cy="162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368751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5D80E17-33BA-4C72-9B20-00F1548F687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8991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ROC </a:t>
            </a:r>
            <a:r>
              <a:rPr kumimoji="0" lang="mr-IN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–</a:t>
            </a: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Receiver Operating Characteristic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8792F5-D9DF-43E2-A022-5398C88C1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600203"/>
            <a:ext cx="5410200" cy="420623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8658752-DD8E-472A-A9AB-1DB81483F1D8}"/>
              </a:ext>
            </a:extLst>
          </p:cNvPr>
          <p:cNvSpPr txBox="1"/>
          <p:nvPr/>
        </p:nvSpPr>
        <p:spPr>
          <a:xfrm>
            <a:off x="304800" y="1066800"/>
            <a:ext cx="830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History is WW II to differentiate between true signals &amp; false alarm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4D2D64-36E9-4440-980A-18B00A8E80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5569" y="3733800"/>
            <a:ext cx="2628394" cy="2072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D247C25-64E1-4EB3-985D-4E6DCEC1D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9800" y="1600202"/>
            <a:ext cx="2438400" cy="20163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CABBD88-24D0-4DFF-830C-064F631BA484}"/>
              </a:ext>
            </a:extLst>
          </p:cNvPr>
          <p:cNvSpPr txBox="1"/>
          <p:nvPr/>
        </p:nvSpPr>
        <p:spPr>
          <a:xfrm>
            <a:off x="355216" y="5989320"/>
            <a:ext cx="876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Choose cutoff point which maximizes the true positive &amp; minimizes the false negative </a:t>
            </a:r>
          </a:p>
        </p:txBody>
      </p:sp>
    </p:spTree>
    <p:extLst>
      <p:ext uri="{BB962C8B-B14F-4D97-AF65-F5344CB8AC3E}">
        <p14:creationId xmlns:p14="http://schemas.microsoft.com/office/powerpoint/2010/main" val="1571057772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8A983BD-F50D-4CFD-92A2-A470AD2CA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0300" y="2813180"/>
            <a:ext cx="4343400" cy="1231639"/>
          </a:xfrm>
        </p:spPr>
        <p:txBody>
          <a:bodyPr rtlCol="0">
            <a:noAutofit/>
          </a:bodyPr>
          <a:lstStyle/>
          <a:p>
            <a:pPr marL="241266" algn="ctr">
              <a:defRPr/>
            </a:pPr>
            <a:r>
              <a:rPr lang="en-US" sz="6000" dirty="0">
                <a:solidFill>
                  <a:schemeClr val="accent5">
                    <a:lumMod val="75000"/>
                  </a:schemeClr>
                </a:solidFill>
                <a:latin typeface="Arial Rounded MT Bold" panose="020F07040305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26529671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E2AF071-0EB3-4E22-9A60-4B6A22546DE8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Logistic Regression: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F21311-2B79-41D8-95E5-12C2C14B5575}"/>
              </a:ext>
            </a:extLst>
          </p:cNvPr>
          <p:cNvSpPr txBox="1">
            <a:spLocks/>
          </p:cNvSpPr>
          <p:nvPr/>
        </p:nvSpPr>
        <p:spPr>
          <a:xfrm>
            <a:off x="457200" y="1417638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stic Regression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stic Regression model predicts the probability associated with each dependent variable Category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w does it do this?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finds linear relationship between independent variables and a link function of this probabilities. Then the link function that  provides the best goodness-of-fit for the given data is chose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2400" b="0" i="1" u="none" strike="noStrike" kern="1200" cap="none" spc="0" normalizeH="0" baseline="0" noProof="0" dirty="0">
              <a:ln>
                <a:noFill/>
              </a:ln>
              <a:solidFill>
                <a:srgbClr val="F79646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BE24B22-0E27-4E73-AF45-8E2B9CCC7C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267200"/>
            <a:ext cx="8382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57222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94ADAE0-B7AB-46B4-814F-7FE092B640C6}"/>
              </a:ext>
            </a:extLst>
          </p:cNvPr>
          <p:cNvSpPr txBox="1">
            <a:spLocks/>
          </p:cNvSpPr>
          <p:nvPr/>
        </p:nvSpPr>
        <p:spPr>
          <a:xfrm>
            <a:off x="152405" y="685803"/>
            <a:ext cx="8529319" cy="538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Logistic Regression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12" name="Content Placeholder 4">
            <a:extLst>
              <a:ext uri="{FF2B5EF4-FFF2-40B4-BE49-F238E27FC236}">
                <a16:creationId xmlns:a16="http://schemas.microsoft.com/office/drawing/2014/main" id="{5D2128FC-30A3-4579-B6F4-0C37154E9E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5212864"/>
              </p:ext>
            </p:extLst>
          </p:nvPr>
        </p:nvGraphicFramePr>
        <p:xfrm>
          <a:off x="381000" y="1295400"/>
          <a:ext cx="8229600" cy="37716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2320F95-5227-4877-9033-8B6E470994B3}"/>
              </a:ext>
            </a:extLst>
          </p:cNvPr>
          <p:cNvSpPr txBox="1">
            <a:spLocks/>
          </p:cNvSpPr>
          <p:nvPr/>
        </p:nvSpPr>
        <p:spPr>
          <a:xfrm>
            <a:off x="457200" y="15240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algn="just">
              <a:buNone/>
            </a:pPr>
            <a:r>
              <a:rPr lang="en-US" sz="2000" dirty="0">
                <a:solidFill>
                  <a:srgbClr val="4BACC6">
                    <a:lumMod val="75000"/>
                  </a:srgbClr>
                </a:solidFill>
                <a:latin typeface="Calibri"/>
              </a:rPr>
              <a:t>Multiple Logistic Regression Model is quite similar to the Multiple Linear Regression Model, Only </a:t>
            </a:r>
            <a:r>
              <a:rPr lang="el-GR" sz="2000" dirty="0">
                <a:solidFill>
                  <a:srgbClr val="4BACC6">
                    <a:lumMod val="75000"/>
                  </a:srgbClr>
                </a:solidFill>
                <a:latin typeface="Calibri"/>
              </a:rPr>
              <a:t>β</a:t>
            </a:r>
            <a:r>
              <a:rPr lang="en-US" sz="2000" dirty="0">
                <a:solidFill>
                  <a:srgbClr val="4BACC6">
                    <a:lumMod val="75000"/>
                  </a:srgbClr>
                </a:solidFill>
                <a:latin typeface="Calibri"/>
              </a:rPr>
              <a:t> coefficients vary. </a:t>
            </a:r>
          </a:p>
        </p:txBody>
      </p:sp>
      <p:pic>
        <p:nvPicPr>
          <p:cNvPr id="14" name="Picture 2" descr="http://reliawiki.org/images/math/0/4/7/047b6637704da980c76306ebf9400781.png">
            <a:extLst>
              <a:ext uri="{FF2B5EF4-FFF2-40B4-BE49-F238E27FC236}">
                <a16:creationId xmlns:a16="http://schemas.microsoft.com/office/drawing/2014/main" id="{732D1CC9-3FEC-44DB-846B-788917A2E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5" y="3200403"/>
            <a:ext cx="5600977" cy="3791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4A0465A-6B51-4FA5-8B86-53DE607EB4BC}"/>
              </a:ext>
            </a:extLst>
          </p:cNvPr>
          <p:cNvSpPr txBox="1"/>
          <p:nvPr/>
        </p:nvSpPr>
        <p:spPr>
          <a:xfrm>
            <a:off x="1961604" y="4336851"/>
            <a:ext cx="5989397" cy="13388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Where,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  <a:r>
              <a:rPr lang="el-GR" dirty="0">
                <a:solidFill>
                  <a:prstClr val="black"/>
                </a:solidFill>
                <a:latin typeface="Calibri"/>
              </a:rPr>
              <a:t>β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0 </a:t>
            </a:r>
            <a:r>
              <a:rPr lang="en-US" baseline="300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= the y axis intercept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 </a:t>
            </a:r>
            <a:r>
              <a:rPr lang="el-GR" dirty="0">
                <a:solidFill>
                  <a:prstClr val="black"/>
                </a:solidFill>
                <a:latin typeface="Calibri"/>
              </a:rPr>
              <a:t>β</a:t>
            </a:r>
            <a:r>
              <a:rPr lang="en-US" baseline="-25000" dirty="0" err="1">
                <a:solidFill>
                  <a:prstClr val="black"/>
                </a:solidFill>
                <a:latin typeface="Calibri"/>
              </a:rPr>
              <a:t>i</a:t>
            </a:r>
            <a:r>
              <a:rPr lang="en-US" baseline="-250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 = the model coefficient for the linear effect of variable </a:t>
            </a:r>
            <a:r>
              <a:rPr lang="en-US" dirty="0" err="1">
                <a:solidFill>
                  <a:prstClr val="black"/>
                </a:solidFill>
                <a:latin typeface="Calibri"/>
              </a:rPr>
              <a:t>i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on y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 e   = the random error</a:t>
            </a:r>
            <a:endParaRPr lang="en-US" baseline="-250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2269658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2D0C07B-7096-4865-9097-BCC8B2C1E4D3}"/>
              </a:ext>
            </a:extLst>
          </p:cNvPr>
          <p:cNvSpPr txBox="1">
            <a:spLocks/>
          </p:cNvSpPr>
          <p:nvPr/>
        </p:nvSpPr>
        <p:spPr>
          <a:xfrm>
            <a:off x="152405" y="685803"/>
            <a:ext cx="8529319" cy="538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Logistic Regression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23EEF86A-3A39-4AF8-91DD-384BE0ECCE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4438349"/>
              </p:ext>
            </p:extLst>
          </p:nvPr>
        </p:nvGraphicFramePr>
        <p:xfrm>
          <a:off x="381000" y="1295401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B17E356-6EBE-4278-A0C6-95A6F7E8377E}"/>
              </a:ext>
            </a:extLst>
          </p:cNvPr>
          <p:cNvSpPr txBox="1">
            <a:spLocks/>
          </p:cNvSpPr>
          <p:nvPr/>
        </p:nvSpPr>
        <p:spPr>
          <a:xfrm>
            <a:off x="533400" y="14478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en-US" dirty="0">
                <a:solidFill>
                  <a:prstClr val="black"/>
                </a:solidFill>
                <a:latin typeface="Calibri"/>
              </a:rPr>
              <a:t>Probability:</a:t>
            </a:r>
            <a:endParaRPr lang="en-US" sz="2000" dirty="0">
              <a:solidFill>
                <a:prstClr val="black"/>
              </a:solidFill>
              <a:latin typeface="Calibri"/>
            </a:endParaRPr>
          </a:p>
          <a:p>
            <a:pPr marL="0" indent="0" algn="just">
              <a:buFont typeface="Arial" pitchFamily="34" charset="0"/>
              <a:buNone/>
            </a:pPr>
            <a:endParaRPr lang="en-US" sz="2400" i="1" dirty="0">
              <a:solidFill>
                <a:srgbClr val="F79646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EC5AAD-02CE-48D8-8116-F84BB25D19DE}"/>
              </a:ext>
            </a:extLst>
          </p:cNvPr>
          <p:cNvSpPr txBox="1"/>
          <p:nvPr/>
        </p:nvSpPr>
        <p:spPr>
          <a:xfrm>
            <a:off x="1752603" y="2195353"/>
            <a:ext cx="416979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The probability in a logistic regression curve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81EB5B-6836-4CA2-A7E0-302A6F8EB152}"/>
              </a:ext>
            </a:extLst>
          </p:cNvPr>
          <p:cNvSpPr txBox="1"/>
          <p:nvPr/>
        </p:nvSpPr>
        <p:spPr>
          <a:xfrm>
            <a:off x="609600" y="3810003"/>
            <a:ext cx="830580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Where,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 ‘e’ is a real number constant, the basic of natural logarithm and equals 2.7183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 ‘y’ is the response value for an observ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308520D-0704-4816-A3B0-22EE7C67E6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3758" y="2826364"/>
            <a:ext cx="2541546" cy="105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08749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0B2FE48-16D1-4991-8287-ADD1F0C6D22E}"/>
              </a:ext>
            </a:extLst>
          </p:cNvPr>
          <p:cNvSpPr txBox="1">
            <a:spLocks/>
          </p:cNvSpPr>
          <p:nvPr/>
        </p:nvSpPr>
        <p:spPr>
          <a:xfrm>
            <a:off x="152405" y="669852"/>
            <a:ext cx="8529319" cy="538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Logistic Regression Methods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AE542277-C84E-4CB8-ADE8-A6021FE68E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690" y="1955547"/>
            <a:ext cx="7086600" cy="3606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5604713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500" y="608835"/>
            <a:ext cx="8529319" cy="538609"/>
          </a:xfrm>
        </p:spPr>
        <p:txBody>
          <a:bodyPr/>
          <a:lstStyle/>
          <a:p>
            <a:r>
              <a:rPr lang="en-US" b="0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ssumptions in Logistic Regression</a:t>
            </a:r>
            <a:endParaRPr lang="en-US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1105723" y="4549507"/>
            <a:ext cx="6184816" cy="1521190"/>
          </a:xfrm>
          <a:custGeom>
            <a:avLst/>
            <a:gdLst>
              <a:gd name="T0" fmla="*/ 4422 w 4637"/>
              <a:gd name="T1" fmla="*/ 0 h 1380"/>
              <a:gd name="T2" fmla="*/ 588 w 4637"/>
              <a:gd name="T3" fmla="*/ 0 h 1380"/>
              <a:gd name="T4" fmla="*/ 0 w 4637"/>
              <a:gd name="T5" fmla="*/ 156 h 1380"/>
              <a:gd name="T6" fmla="*/ 0 w 4637"/>
              <a:gd name="T7" fmla="*/ 1380 h 1380"/>
              <a:gd name="T8" fmla="*/ 588 w 4637"/>
              <a:gd name="T9" fmla="*/ 553 h 1380"/>
              <a:gd name="T10" fmla="*/ 4417 w 4637"/>
              <a:gd name="T11" fmla="*/ 553 h 1380"/>
              <a:gd name="T12" fmla="*/ 4637 w 4637"/>
              <a:gd name="T13" fmla="*/ 0 h 1380"/>
              <a:gd name="T14" fmla="*/ 4422 w 4637"/>
              <a:gd name="T15" fmla="*/ 0 h 1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7" h="1380">
                <a:moveTo>
                  <a:pt x="4422" y="0"/>
                </a:moveTo>
                <a:lnTo>
                  <a:pt x="588" y="0"/>
                </a:lnTo>
                <a:lnTo>
                  <a:pt x="0" y="156"/>
                </a:lnTo>
                <a:lnTo>
                  <a:pt x="0" y="1380"/>
                </a:lnTo>
                <a:lnTo>
                  <a:pt x="588" y="553"/>
                </a:lnTo>
                <a:lnTo>
                  <a:pt x="4417" y="553"/>
                </a:lnTo>
                <a:lnTo>
                  <a:pt x="4637" y="0"/>
                </a:lnTo>
                <a:lnTo>
                  <a:pt x="4422" y="0"/>
                </a:lnTo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6" name="Freeform 7"/>
          <p:cNvSpPr>
            <a:spLocks/>
          </p:cNvSpPr>
          <p:nvPr/>
        </p:nvSpPr>
        <p:spPr bwMode="auto">
          <a:xfrm>
            <a:off x="1105723" y="1217128"/>
            <a:ext cx="6187484" cy="1504655"/>
          </a:xfrm>
          <a:custGeom>
            <a:avLst/>
            <a:gdLst>
              <a:gd name="T0" fmla="*/ 4420 w 4639"/>
              <a:gd name="T1" fmla="*/ 1365 h 1365"/>
              <a:gd name="T2" fmla="*/ 4639 w 4639"/>
              <a:gd name="T3" fmla="*/ 819 h 1365"/>
              <a:gd name="T4" fmla="*/ 588 w 4639"/>
              <a:gd name="T5" fmla="*/ 819 h 1365"/>
              <a:gd name="T6" fmla="*/ 0 w 4639"/>
              <a:gd name="T7" fmla="*/ 0 h 1365"/>
              <a:gd name="T8" fmla="*/ 0 w 4639"/>
              <a:gd name="T9" fmla="*/ 982 h 1365"/>
              <a:gd name="T10" fmla="*/ 588 w 4639"/>
              <a:gd name="T11" fmla="*/ 1365 h 1365"/>
              <a:gd name="T12" fmla="*/ 4420 w 4639"/>
              <a:gd name="T13" fmla="*/ 1365 h 1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39" h="1365">
                <a:moveTo>
                  <a:pt x="4420" y="1365"/>
                </a:moveTo>
                <a:lnTo>
                  <a:pt x="4639" y="819"/>
                </a:lnTo>
                <a:lnTo>
                  <a:pt x="588" y="819"/>
                </a:lnTo>
                <a:lnTo>
                  <a:pt x="0" y="0"/>
                </a:lnTo>
                <a:lnTo>
                  <a:pt x="0" y="982"/>
                </a:lnTo>
                <a:lnTo>
                  <a:pt x="588" y="1365"/>
                </a:lnTo>
                <a:lnTo>
                  <a:pt x="4420" y="1365"/>
                </a:ln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7" name="Freeform 8"/>
          <p:cNvSpPr>
            <a:spLocks/>
          </p:cNvSpPr>
          <p:nvPr/>
        </p:nvSpPr>
        <p:spPr bwMode="auto">
          <a:xfrm>
            <a:off x="1105723" y="2308875"/>
            <a:ext cx="6187484" cy="1016332"/>
          </a:xfrm>
          <a:custGeom>
            <a:avLst/>
            <a:gdLst>
              <a:gd name="T0" fmla="*/ 4420 w 4639"/>
              <a:gd name="T1" fmla="*/ 383 h 922"/>
              <a:gd name="T2" fmla="*/ 588 w 4639"/>
              <a:gd name="T3" fmla="*/ 383 h 922"/>
              <a:gd name="T4" fmla="*/ 0 w 4639"/>
              <a:gd name="T5" fmla="*/ 0 h 922"/>
              <a:gd name="T6" fmla="*/ 0 w 4639"/>
              <a:gd name="T7" fmla="*/ 678 h 922"/>
              <a:gd name="T8" fmla="*/ 588 w 4639"/>
              <a:gd name="T9" fmla="*/ 922 h 922"/>
              <a:gd name="T10" fmla="*/ 4424 w 4639"/>
              <a:gd name="T11" fmla="*/ 922 h 922"/>
              <a:gd name="T12" fmla="*/ 4639 w 4639"/>
              <a:gd name="T13" fmla="*/ 383 h 922"/>
              <a:gd name="T14" fmla="*/ 4420 w 4639"/>
              <a:gd name="T15" fmla="*/ 383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9" h="922">
                <a:moveTo>
                  <a:pt x="4420" y="383"/>
                </a:moveTo>
                <a:lnTo>
                  <a:pt x="588" y="383"/>
                </a:lnTo>
                <a:lnTo>
                  <a:pt x="0" y="0"/>
                </a:lnTo>
                <a:lnTo>
                  <a:pt x="0" y="678"/>
                </a:lnTo>
                <a:lnTo>
                  <a:pt x="588" y="922"/>
                </a:lnTo>
                <a:lnTo>
                  <a:pt x="4424" y="922"/>
                </a:lnTo>
                <a:lnTo>
                  <a:pt x="4639" y="383"/>
                </a:lnTo>
                <a:lnTo>
                  <a:pt x="4420" y="383"/>
                </a:lnTo>
              </a:path>
            </a:pathLst>
          </a:custGeom>
          <a:solidFill>
            <a:schemeClr val="accent3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8" name="Freeform 9"/>
          <p:cNvSpPr>
            <a:spLocks/>
          </p:cNvSpPr>
          <p:nvPr/>
        </p:nvSpPr>
        <p:spPr bwMode="auto">
          <a:xfrm>
            <a:off x="1105723" y="3828659"/>
            <a:ext cx="6184816" cy="881850"/>
          </a:xfrm>
          <a:custGeom>
            <a:avLst/>
            <a:gdLst>
              <a:gd name="T0" fmla="*/ 4420 w 4637"/>
              <a:gd name="T1" fmla="*/ 106 h 800"/>
              <a:gd name="T2" fmla="*/ 590 w 4637"/>
              <a:gd name="T3" fmla="*/ 106 h 800"/>
              <a:gd name="T4" fmla="*/ 0 w 4637"/>
              <a:gd name="T5" fmla="*/ 0 h 800"/>
              <a:gd name="T6" fmla="*/ 0 w 4637"/>
              <a:gd name="T7" fmla="*/ 800 h 800"/>
              <a:gd name="T8" fmla="*/ 588 w 4637"/>
              <a:gd name="T9" fmla="*/ 644 h 800"/>
              <a:gd name="T10" fmla="*/ 4422 w 4637"/>
              <a:gd name="T11" fmla="*/ 644 h 800"/>
              <a:gd name="T12" fmla="*/ 4637 w 4637"/>
              <a:gd name="T13" fmla="*/ 106 h 800"/>
              <a:gd name="T14" fmla="*/ 4420 w 4637"/>
              <a:gd name="T15" fmla="*/ 106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7" h="800">
                <a:moveTo>
                  <a:pt x="4420" y="106"/>
                </a:moveTo>
                <a:lnTo>
                  <a:pt x="590" y="106"/>
                </a:lnTo>
                <a:lnTo>
                  <a:pt x="0" y="0"/>
                </a:lnTo>
                <a:lnTo>
                  <a:pt x="0" y="800"/>
                </a:lnTo>
                <a:lnTo>
                  <a:pt x="588" y="644"/>
                </a:lnTo>
                <a:lnTo>
                  <a:pt x="4422" y="644"/>
                </a:lnTo>
                <a:lnTo>
                  <a:pt x="4637" y="106"/>
                </a:lnTo>
                <a:lnTo>
                  <a:pt x="4420" y="106"/>
                </a:lnTo>
              </a:path>
            </a:pathLst>
          </a:custGeom>
          <a:solidFill>
            <a:schemeClr val="bg2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9" name="Freeform 10"/>
          <p:cNvSpPr>
            <a:spLocks/>
          </p:cNvSpPr>
          <p:nvPr/>
        </p:nvSpPr>
        <p:spPr bwMode="auto">
          <a:xfrm>
            <a:off x="1105729" y="3068475"/>
            <a:ext cx="6182149" cy="859804"/>
          </a:xfrm>
          <a:custGeom>
            <a:avLst/>
            <a:gdLst>
              <a:gd name="T0" fmla="*/ 4424 w 4635"/>
              <a:gd name="T1" fmla="*/ 244 h 780"/>
              <a:gd name="T2" fmla="*/ 588 w 4635"/>
              <a:gd name="T3" fmla="*/ 244 h 780"/>
              <a:gd name="T4" fmla="*/ 0 w 4635"/>
              <a:gd name="T5" fmla="*/ 0 h 780"/>
              <a:gd name="T6" fmla="*/ 0 w 4635"/>
              <a:gd name="T7" fmla="*/ 674 h 780"/>
              <a:gd name="T8" fmla="*/ 590 w 4635"/>
              <a:gd name="T9" fmla="*/ 780 h 780"/>
              <a:gd name="T10" fmla="*/ 4420 w 4635"/>
              <a:gd name="T11" fmla="*/ 780 h 780"/>
              <a:gd name="T12" fmla="*/ 4635 w 4635"/>
              <a:gd name="T13" fmla="*/ 244 h 780"/>
              <a:gd name="T14" fmla="*/ 4424 w 4635"/>
              <a:gd name="T15" fmla="*/ 244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5" h="780">
                <a:moveTo>
                  <a:pt x="4424" y="244"/>
                </a:moveTo>
                <a:lnTo>
                  <a:pt x="588" y="244"/>
                </a:lnTo>
                <a:lnTo>
                  <a:pt x="0" y="0"/>
                </a:lnTo>
                <a:lnTo>
                  <a:pt x="0" y="674"/>
                </a:lnTo>
                <a:lnTo>
                  <a:pt x="590" y="780"/>
                </a:lnTo>
                <a:lnTo>
                  <a:pt x="4420" y="780"/>
                </a:lnTo>
                <a:lnTo>
                  <a:pt x="4635" y="244"/>
                </a:lnTo>
                <a:lnTo>
                  <a:pt x="4424" y="244"/>
                </a:lnTo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222760" y="2298063"/>
            <a:ext cx="4303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Only one outcome per event – Like pass or fai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222760" y="2906512"/>
            <a:ext cx="4303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The outcomes are statistically independent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222760" y="3476475"/>
            <a:ext cx="4303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All relevant predictors are in the model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222760" y="4007955"/>
            <a:ext cx="430365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One category at a time – Mutually exclusive &amp; collectively exhaustive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222760" y="4693372"/>
            <a:ext cx="46352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Sample sizes are larger than for linear regression </a:t>
            </a:r>
          </a:p>
        </p:txBody>
      </p:sp>
      <p:sp>
        <p:nvSpPr>
          <p:cNvPr id="39" name="Oval 38"/>
          <p:cNvSpPr/>
          <p:nvPr/>
        </p:nvSpPr>
        <p:spPr>
          <a:xfrm>
            <a:off x="7452734" y="2995418"/>
            <a:ext cx="1411273" cy="141127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rgbClr val="313131"/>
              </a:solidFill>
              <a:latin typeface="Arial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7703565" y="3262419"/>
            <a:ext cx="909602" cy="877273"/>
            <a:chOff x="2185477" y="5525527"/>
            <a:chExt cx="523177" cy="504582"/>
          </a:xfrm>
        </p:grpSpPr>
        <p:sp>
          <p:nvSpPr>
            <p:cNvPr id="41" name="Freeform 33"/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Freeform 33"/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Freeform 33"/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4" name="Freeform 33"/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1015813" y="1616974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015813" y="2388634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015813" y="3099645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15813" y="3857255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015813" y="4739550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7237289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500" y="608835"/>
            <a:ext cx="8529319" cy="538609"/>
          </a:xfrm>
        </p:spPr>
        <p:txBody>
          <a:bodyPr/>
          <a:lstStyle/>
          <a:p>
            <a:r>
              <a:rPr lang="en-US" b="0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teps in Logistic Regression</a:t>
            </a:r>
            <a:endParaRPr lang="en-US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1105723" y="4549507"/>
            <a:ext cx="6184816" cy="1521190"/>
          </a:xfrm>
          <a:custGeom>
            <a:avLst/>
            <a:gdLst>
              <a:gd name="T0" fmla="*/ 4422 w 4637"/>
              <a:gd name="T1" fmla="*/ 0 h 1380"/>
              <a:gd name="T2" fmla="*/ 588 w 4637"/>
              <a:gd name="T3" fmla="*/ 0 h 1380"/>
              <a:gd name="T4" fmla="*/ 0 w 4637"/>
              <a:gd name="T5" fmla="*/ 156 h 1380"/>
              <a:gd name="T6" fmla="*/ 0 w 4637"/>
              <a:gd name="T7" fmla="*/ 1380 h 1380"/>
              <a:gd name="T8" fmla="*/ 588 w 4637"/>
              <a:gd name="T9" fmla="*/ 553 h 1380"/>
              <a:gd name="T10" fmla="*/ 4417 w 4637"/>
              <a:gd name="T11" fmla="*/ 553 h 1380"/>
              <a:gd name="T12" fmla="*/ 4637 w 4637"/>
              <a:gd name="T13" fmla="*/ 0 h 1380"/>
              <a:gd name="T14" fmla="*/ 4422 w 4637"/>
              <a:gd name="T15" fmla="*/ 0 h 1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7" h="1380">
                <a:moveTo>
                  <a:pt x="4422" y="0"/>
                </a:moveTo>
                <a:lnTo>
                  <a:pt x="588" y="0"/>
                </a:lnTo>
                <a:lnTo>
                  <a:pt x="0" y="156"/>
                </a:lnTo>
                <a:lnTo>
                  <a:pt x="0" y="1380"/>
                </a:lnTo>
                <a:lnTo>
                  <a:pt x="588" y="553"/>
                </a:lnTo>
                <a:lnTo>
                  <a:pt x="4417" y="553"/>
                </a:lnTo>
                <a:lnTo>
                  <a:pt x="4637" y="0"/>
                </a:lnTo>
                <a:lnTo>
                  <a:pt x="4422" y="0"/>
                </a:lnTo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6" name="Freeform 7"/>
          <p:cNvSpPr>
            <a:spLocks/>
          </p:cNvSpPr>
          <p:nvPr/>
        </p:nvSpPr>
        <p:spPr bwMode="auto">
          <a:xfrm>
            <a:off x="1105723" y="1217128"/>
            <a:ext cx="6187484" cy="1504655"/>
          </a:xfrm>
          <a:custGeom>
            <a:avLst/>
            <a:gdLst>
              <a:gd name="T0" fmla="*/ 4420 w 4639"/>
              <a:gd name="T1" fmla="*/ 1365 h 1365"/>
              <a:gd name="T2" fmla="*/ 4639 w 4639"/>
              <a:gd name="T3" fmla="*/ 819 h 1365"/>
              <a:gd name="T4" fmla="*/ 588 w 4639"/>
              <a:gd name="T5" fmla="*/ 819 h 1365"/>
              <a:gd name="T6" fmla="*/ 0 w 4639"/>
              <a:gd name="T7" fmla="*/ 0 h 1365"/>
              <a:gd name="T8" fmla="*/ 0 w 4639"/>
              <a:gd name="T9" fmla="*/ 982 h 1365"/>
              <a:gd name="T10" fmla="*/ 588 w 4639"/>
              <a:gd name="T11" fmla="*/ 1365 h 1365"/>
              <a:gd name="T12" fmla="*/ 4420 w 4639"/>
              <a:gd name="T13" fmla="*/ 1365 h 1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39" h="1365">
                <a:moveTo>
                  <a:pt x="4420" y="1365"/>
                </a:moveTo>
                <a:lnTo>
                  <a:pt x="4639" y="819"/>
                </a:lnTo>
                <a:lnTo>
                  <a:pt x="588" y="819"/>
                </a:lnTo>
                <a:lnTo>
                  <a:pt x="0" y="0"/>
                </a:lnTo>
                <a:lnTo>
                  <a:pt x="0" y="982"/>
                </a:lnTo>
                <a:lnTo>
                  <a:pt x="588" y="1365"/>
                </a:lnTo>
                <a:lnTo>
                  <a:pt x="4420" y="1365"/>
                </a:ln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7" name="Freeform 8"/>
          <p:cNvSpPr>
            <a:spLocks/>
          </p:cNvSpPr>
          <p:nvPr/>
        </p:nvSpPr>
        <p:spPr bwMode="auto">
          <a:xfrm>
            <a:off x="1105723" y="2308875"/>
            <a:ext cx="6187484" cy="1016332"/>
          </a:xfrm>
          <a:custGeom>
            <a:avLst/>
            <a:gdLst>
              <a:gd name="T0" fmla="*/ 4420 w 4639"/>
              <a:gd name="T1" fmla="*/ 383 h 922"/>
              <a:gd name="T2" fmla="*/ 588 w 4639"/>
              <a:gd name="T3" fmla="*/ 383 h 922"/>
              <a:gd name="T4" fmla="*/ 0 w 4639"/>
              <a:gd name="T5" fmla="*/ 0 h 922"/>
              <a:gd name="T6" fmla="*/ 0 w 4639"/>
              <a:gd name="T7" fmla="*/ 678 h 922"/>
              <a:gd name="T8" fmla="*/ 588 w 4639"/>
              <a:gd name="T9" fmla="*/ 922 h 922"/>
              <a:gd name="T10" fmla="*/ 4424 w 4639"/>
              <a:gd name="T11" fmla="*/ 922 h 922"/>
              <a:gd name="T12" fmla="*/ 4639 w 4639"/>
              <a:gd name="T13" fmla="*/ 383 h 922"/>
              <a:gd name="T14" fmla="*/ 4420 w 4639"/>
              <a:gd name="T15" fmla="*/ 383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9" h="922">
                <a:moveTo>
                  <a:pt x="4420" y="383"/>
                </a:moveTo>
                <a:lnTo>
                  <a:pt x="588" y="383"/>
                </a:lnTo>
                <a:lnTo>
                  <a:pt x="0" y="0"/>
                </a:lnTo>
                <a:lnTo>
                  <a:pt x="0" y="678"/>
                </a:lnTo>
                <a:lnTo>
                  <a:pt x="588" y="922"/>
                </a:lnTo>
                <a:lnTo>
                  <a:pt x="4424" y="922"/>
                </a:lnTo>
                <a:lnTo>
                  <a:pt x="4639" y="383"/>
                </a:lnTo>
                <a:lnTo>
                  <a:pt x="4420" y="383"/>
                </a:lnTo>
              </a:path>
            </a:pathLst>
          </a:custGeom>
          <a:solidFill>
            <a:schemeClr val="accent3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8" name="Freeform 9"/>
          <p:cNvSpPr>
            <a:spLocks/>
          </p:cNvSpPr>
          <p:nvPr/>
        </p:nvSpPr>
        <p:spPr bwMode="auto">
          <a:xfrm>
            <a:off x="1105723" y="3828659"/>
            <a:ext cx="6184816" cy="881850"/>
          </a:xfrm>
          <a:custGeom>
            <a:avLst/>
            <a:gdLst>
              <a:gd name="T0" fmla="*/ 4420 w 4637"/>
              <a:gd name="T1" fmla="*/ 106 h 800"/>
              <a:gd name="T2" fmla="*/ 590 w 4637"/>
              <a:gd name="T3" fmla="*/ 106 h 800"/>
              <a:gd name="T4" fmla="*/ 0 w 4637"/>
              <a:gd name="T5" fmla="*/ 0 h 800"/>
              <a:gd name="T6" fmla="*/ 0 w 4637"/>
              <a:gd name="T7" fmla="*/ 800 h 800"/>
              <a:gd name="T8" fmla="*/ 588 w 4637"/>
              <a:gd name="T9" fmla="*/ 644 h 800"/>
              <a:gd name="T10" fmla="*/ 4422 w 4637"/>
              <a:gd name="T11" fmla="*/ 644 h 800"/>
              <a:gd name="T12" fmla="*/ 4637 w 4637"/>
              <a:gd name="T13" fmla="*/ 106 h 800"/>
              <a:gd name="T14" fmla="*/ 4420 w 4637"/>
              <a:gd name="T15" fmla="*/ 106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7" h="800">
                <a:moveTo>
                  <a:pt x="4420" y="106"/>
                </a:moveTo>
                <a:lnTo>
                  <a:pt x="590" y="106"/>
                </a:lnTo>
                <a:lnTo>
                  <a:pt x="0" y="0"/>
                </a:lnTo>
                <a:lnTo>
                  <a:pt x="0" y="800"/>
                </a:lnTo>
                <a:lnTo>
                  <a:pt x="588" y="644"/>
                </a:lnTo>
                <a:lnTo>
                  <a:pt x="4422" y="644"/>
                </a:lnTo>
                <a:lnTo>
                  <a:pt x="4637" y="106"/>
                </a:lnTo>
                <a:lnTo>
                  <a:pt x="4420" y="106"/>
                </a:lnTo>
              </a:path>
            </a:pathLst>
          </a:custGeom>
          <a:solidFill>
            <a:schemeClr val="bg2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9" name="Freeform 10"/>
          <p:cNvSpPr>
            <a:spLocks/>
          </p:cNvSpPr>
          <p:nvPr/>
        </p:nvSpPr>
        <p:spPr bwMode="auto">
          <a:xfrm>
            <a:off x="1105729" y="3068475"/>
            <a:ext cx="6182149" cy="859804"/>
          </a:xfrm>
          <a:custGeom>
            <a:avLst/>
            <a:gdLst>
              <a:gd name="T0" fmla="*/ 4424 w 4635"/>
              <a:gd name="T1" fmla="*/ 244 h 780"/>
              <a:gd name="T2" fmla="*/ 588 w 4635"/>
              <a:gd name="T3" fmla="*/ 244 h 780"/>
              <a:gd name="T4" fmla="*/ 0 w 4635"/>
              <a:gd name="T5" fmla="*/ 0 h 780"/>
              <a:gd name="T6" fmla="*/ 0 w 4635"/>
              <a:gd name="T7" fmla="*/ 674 h 780"/>
              <a:gd name="T8" fmla="*/ 590 w 4635"/>
              <a:gd name="T9" fmla="*/ 780 h 780"/>
              <a:gd name="T10" fmla="*/ 4420 w 4635"/>
              <a:gd name="T11" fmla="*/ 780 h 780"/>
              <a:gd name="T12" fmla="*/ 4635 w 4635"/>
              <a:gd name="T13" fmla="*/ 244 h 780"/>
              <a:gd name="T14" fmla="*/ 4424 w 4635"/>
              <a:gd name="T15" fmla="*/ 244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635" h="780">
                <a:moveTo>
                  <a:pt x="4424" y="244"/>
                </a:moveTo>
                <a:lnTo>
                  <a:pt x="588" y="244"/>
                </a:lnTo>
                <a:lnTo>
                  <a:pt x="0" y="0"/>
                </a:lnTo>
                <a:lnTo>
                  <a:pt x="0" y="674"/>
                </a:lnTo>
                <a:lnTo>
                  <a:pt x="590" y="780"/>
                </a:lnTo>
                <a:lnTo>
                  <a:pt x="4420" y="780"/>
                </a:lnTo>
                <a:lnTo>
                  <a:pt x="4635" y="244"/>
                </a:lnTo>
                <a:lnTo>
                  <a:pt x="4424" y="244"/>
                </a:lnTo>
              </a:path>
            </a:pathLst>
          </a:custGeom>
          <a:solidFill>
            <a:schemeClr val="tx2">
              <a:lumMod val="75000"/>
              <a:lumOff val="25000"/>
            </a:schemeClr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222760" y="2298063"/>
            <a:ext cx="4303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Collect &amp; organize sample data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222760" y="2906512"/>
            <a:ext cx="4303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Formulate Logistic Regression Model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222760" y="3476475"/>
            <a:ext cx="43036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Check the model’s validity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222760" y="4086350"/>
            <a:ext cx="47114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Determine Probabilities using Probability equa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222760" y="4693372"/>
            <a:ext cx="46352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Arial"/>
              </a:rPr>
              <a:t>Compile the results</a:t>
            </a:r>
          </a:p>
        </p:txBody>
      </p:sp>
      <p:sp>
        <p:nvSpPr>
          <p:cNvPr id="39" name="Oval 38"/>
          <p:cNvSpPr/>
          <p:nvPr/>
        </p:nvSpPr>
        <p:spPr>
          <a:xfrm>
            <a:off x="7452734" y="2995418"/>
            <a:ext cx="1411273" cy="141127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err="1">
              <a:solidFill>
                <a:srgbClr val="313131"/>
              </a:solidFill>
              <a:latin typeface="Arial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7703565" y="3262419"/>
            <a:ext cx="909602" cy="877273"/>
            <a:chOff x="2185477" y="5525527"/>
            <a:chExt cx="523177" cy="504582"/>
          </a:xfrm>
        </p:grpSpPr>
        <p:sp>
          <p:nvSpPr>
            <p:cNvPr id="41" name="Freeform 33"/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Freeform 33"/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Freeform 33"/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4" name="Freeform 33"/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015813" y="1616974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15813" y="2388634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5813" y="3099645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15813" y="3857255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015813" y="4739550"/>
            <a:ext cx="69102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859641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F2C8DF26-9AC9-4AFD-8B43-6D024336DAFD}"/>
              </a:ext>
            </a:extLst>
          </p:cNvPr>
          <p:cNvSpPr txBox="1">
            <a:spLocks/>
          </p:cNvSpPr>
          <p:nvPr/>
        </p:nvSpPr>
        <p:spPr bwMode="gray">
          <a:xfrm>
            <a:off x="6614" y="637190"/>
            <a:ext cx="9061186" cy="7228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41266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Regression Techniques - Simple Logistic Regression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BACC6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20" name="Freeform 3">
            <a:extLst>
              <a:ext uri="{FF2B5EF4-FFF2-40B4-BE49-F238E27FC236}">
                <a16:creationId xmlns:a16="http://schemas.microsoft.com/office/drawing/2014/main" id="{6C798AB8-5E20-49A7-92E7-BF6F9A079599}"/>
              </a:ext>
            </a:extLst>
          </p:cNvPr>
          <p:cNvSpPr>
            <a:spLocks/>
          </p:cNvSpPr>
          <p:nvPr/>
        </p:nvSpPr>
        <p:spPr bwMode="blackWhite">
          <a:xfrm>
            <a:off x="547274" y="1676402"/>
            <a:ext cx="2957926" cy="3957637"/>
          </a:xfrm>
          <a:custGeom>
            <a:avLst/>
            <a:gdLst>
              <a:gd name="T0" fmla="*/ 2147483647 w 2634"/>
              <a:gd name="T1" fmla="*/ 2147483647 h 2443"/>
              <a:gd name="T2" fmla="*/ 2147483647 w 2634"/>
              <a:gd name="T3" fmla="*/ 2147483647 h 2443"/>
              <a:gd name="T4" fmla="*/ 2147483647 w 2634"/>
              <a:gd name="T5" fmla="*/ 2147483647 h 2443"/>
              <a:gd name="T6" fmla="*/ 2147483647 w 2634"/>
              <a:gd name="T7" fmla="*/ 2147483647 h 2443"/>
              <a:gd name="T8" fmla="*/ 2147483647 w 2634"/>
              <a:gd name="T9" fmla="*/ 2147483647 h 2443"/>
              <a:gd name="T10" fmla="*/ 2147483647 w 2634"/>
              <a:gd name="T11" fmla="*/ 0 h 2443"/>
              <a:gd name="T12" fmla="*/ 0 w 2634"/>
              <a:gd name="T13" fmla="*/ 0 h 2443"/>
              <a:gd name="T14" fmla="*/ 2147483647 w 2634"/>
              <a:gd name="T15" fmla="*/ 2147483647 h 24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34"/>
              <a:gd name="T25" fmla="*/ 0 h 2443"/>
              <a:gd name="T26" fmla="*/ 2634 w 2634"/>
              <a:gd name="T27" fmla="*/ 2443 h 24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34" h="2443">
                <a:moveTo>
                  <a:pt x="791" y="2042"/>
                </a:moveTo>
                <a:lnTo>
                  <a:pt x="495" y="2042"/>
                </a:lnTo>
                <a:lnTo>
                  <a:pt x="1318" y="2443"/>
                </a:lnTo>
                <a:lnTo>
                  <a:pt x="2141" y="2042"/>
                </a:lnTo>
                <a:lnTo>
                  <a:pt x="1799" y="2042"/>
                </a:lnTo>
                <a:lnTo>
                  <a:pt x="2634" y="0"/>
                </a:lnTo>
                <a:lnTo>
                  <a:pt x="0" y="0"/>
                </a:lnTo>
                <a:lnTo>
                  <a:pt x="791" y="2042"/>
                </a:lnTo>
                <a:close/>
              </a:path>
            </a:pathLst>
          </a:custGeom>
          <a:solidFill>
            <a:srgbClr val="00A1DE"/>
          </a:solidFill>
          <a:ln w="9525" cap="rnd">
            <a:solidFill>
              <a:sysClr val="window" lastClr="FFFFFF"/>
            </a:solidFill>
            <a:round/>
            <a:headEnd/>
            <a:tailEnd/>
          </a:ln>
        </p:spPr>
        <p:txBody>
          <a:bodyPr lIns="36000" tIns="36000" rIns="36000" bIns="36000"/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A18D0962-A9F8-480A-A715-F4D17C22B1E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03814" y="3856036"/>
            <a:ext cx="2961505" cy="215900"/>
          </a:xfrm>
          <a:prstGeom prst="rect">
            <a:avLst/>
          </a:prstGeom>
          <a:solidFill>
            <a:srgbClr val="8C8C8C">
              <a:lumMod val="40000"/>
              <a:lumOff val="6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59FAAE3E-0E4F-4EBE-B227-E8020308BB56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03814" y="2743203"/>
            <a:ext cx="2961505" cy="217487"/>
          </a:xfrm>
          <a:prstGeom prst="rect">
            <a:avLst/>
          </a:prstGeom>
          <a:solidFill>
            <a:srgbClr val="8C8C8C">
              <a:lumMod val="40000"/>
              <a:lumOff val="6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182B30F5-2FDD-42A3-A680-07AB1E27CC7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31215" y="2133600"/>
            <a:ext cx="1606974" cy="23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defRPr/>
            </a:pPr>
            <a:r>
              <a:rPr lang="en-US" sz="1600" b="1" kern="0" dirty="0">
                <a:solidFill>
                  <a:sysClr val="window" lastClr="FFFFFF"/>
                </a:solidFill>
                <a:latin typeface="Calibri"/>
              </a:rPr>
              <a:t>Y = Discrete</a:t>
            </a: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4A93BBEE-5C20-4455-A7BD-B3D0FF80CA2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20091" y="3214574"/>
            <a:ext cx="1229222" cy="469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defRPr/>
            </a:pPr>
            <a:r>
              <a:rPr lang="en-US" sz="1600" b="1" kern="0" dirty="0">
                <a:solidFill>
                  <a:sysClr val="window" lastClr="FFFFFF"/>
                </a:solidFill>
                <a:latin typeface="Calibri"/>
              </a:rPr>
              <a:t>X = Single &amp; Continuous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9455E08-BDEA-45ED-94A5-19FD37D77F1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34872" y="4227901"/>
            <a:ext cx="1182729" cy="70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defRPr/>
            </a:pPr>
            <a:r>
              <a:rPr lang="en-US" sz="1600" b="1" kern="0" dirty="0">
                <a:solidFill>
                  <a:sysClr val="window" lastClr="FFFFFF"/>
                </a:solidFill>
                <a:latin typeface="Calibri"/>
              </a:rPr>
              <a:t>Simple Logistic Regression</a:t>
            </a:r>
          </a:p>
        </p:txBody>
      </p:sp>
      <p:sp>
        <p:nvSpPr>
          <p:cNvPr id="26" name="Freeform 3">
            <a:extLst>
              <a:ext uri="{FF2B5EF4-FFF2-40B4-BE49-F238E27FC236}">
                <a16:creationId xmlns:a16="http://schemas.microsoft.com/office/drawing/2014/main" id="{777ED7FC-F82E-4BD3-BE65-1CD43A750BAC}"/>
              </a:ext>
            </a:extLst>
          </p:cNvPr>
          <p:cNvSpPr>
            <a:spLocks/>
          </p:cNvSpPr>
          <p:nvPr/>
        </p:nvSpPr>
        <p:spPr bwMode="blackWhite">
          <a:xfrm>
            <a:off x="3916864" y="1676402"/>
            <a:ext cx="2957926" cy="3957637"/>
          </a:xfrm>
          <a:custGeom>
            <a:avLst/>
            <a:gdLst>
              <a:gd name="T0" fmla="*/ 2147483647 w 2634"/>
              <a:gd name="T1" fmla="*/ 2147483647 h 2443"/>
              <a:gd name="T2" fmla="*/ 2147483647 w 2634"/>
              <a:gd name="T3" fmla="*/ 2147483647 h 2443"/>
              <a:gd name="T4" fmla="*/ 2147483647 w 2634"/>
              <a:gd name="T5" fmla="*/ 2147483647 h 2443"/>
              <a:gd name="T6" fmla="*/ 2147483647 w 2634"/>
              <a:gd name="T7" fmla="*/ 2147483647 h 2443"/>
              <a:gd name="T8" fmla="*/ 2147483647 w 2634"/>
              <a:gd name="T9" fmla="*/ 2147483647 h 2443"/>
              <a:gd name="T10" fmla="*/ 2147483647 w 2634"/>
              <a:gd name="T11" fmla="*/ 0 h 2443"/>
              <a:gd name="T12" fmla="*/ 0 w 2634"/>
              <a:gd name="T13" fmla="*/ 0 h 2443"/>
              <a:gd name="T14" fmla="*/ 2147483647 w 2634"/>
              <a:gd name="T15" fmla="*/ 2147483647 h 24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34"/>
              <a:gd name="T25" fmla="*/ 0 h 2443"/>
              <a:gd name="T26" fmla="*/ 2634 w 2634"/>
              <a:gd name="T27" fmla="*/ 2443 h 24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34" h="2443">
                <a:moveTo>
                  <a:pt x="791" y="2042"/>
                </a:moveTo>
                <a:lnTo>
                  <a:pt x="495" y="2042"/>
                </a:lnTo>
                <a:lnTo>
                  <a:pt x="1318" y="2443"/>
                </a:lnTo>
                <a:lnTo>
                  <a:pt x="2141" y="2042"/>
                </a:lnTo>
                <a:lnTo>
                  <a:pt x="1799" y="2042"/>
                </a:lnTo>
                <a:lnTo>
                  <a:pt x="2634" y="0"/>
                </a:lnTo>
                <a:lnTo>
                  <a:pt x="0" y="0"/>
                </a:lnTo>
                <a:lnTo>
                  <a:pt x="791" y="2042"/>
                </a:lnTo>
                <a:close/>
              </a:path>
            </a:pathLst>
          </a:custGeom>
          <a:solidFill>
            <a:srgbClr val="00A1DE"/>
          </a:solidFill>
          <a:ln w="9525" cap="rnd">
            <a:solidFill>
              <a:sysClr val="window" lastClr="FFFFFF"/>
            </a:solidFill>
            <a:round/>
            <a:headEnd/>
            <a:tailEnd/>
          </a:ln>
        </p:spPr>
        <p:txBody>
          <a:bodyPr lIns="36000" tIns="36000" rIns="36000" bIns="36000"/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30E47D0B-449D-4573-9075-AB02E1003BE8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915878" y="3856036"/>
            <a:ext cx="2961505" cy="215900"/>
          </a:xfrm>
          <a:prstGeom prst="rect">
            <a:avLst/>
          </a:prstGeom>
          <a:solidFill>
            <a:srgbClr val="8C8C8C">
              <a:lumMod val="40000"/>
              <a:lumOff val="6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8" name="Rectangle 5">
            <a:extLst>
              <a:ext uri="{FF2B5EF4-FFF2-40B4-BE49-F238E27FC236}">
                <a16:creationId xmlns:a16="http://schemas.microsoft.com/office/drawing/2014/main" id="{088A82F2-E7E8-4B92-92BD-DCBB546AC2E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915878" y="2743203"/>
            <a:ext cx="2961505" cy="217487"/>
          </a:xfrm>
          <a:prstGeom prst="rect">
            <a:avLst/>
          </a:prstGeom>
          <a:solidFill>
            <a:srgbClr val="8C8C8C">
              <a:lumMod val="40000"/>
              <a:lumOff val="60000"/>
            </a:srgbClr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9" name="Rectangle 6">
            <a:extLst>
              <a:ext uri="{FF2B5EF4-FFF2-40B4-BE49-F238E27FC236}">
                <a16:creationId xmlns:a16="http://schemas.microsoft.com/office/drawing/2014/main" id="{4DEF171D-ED92-45B2-B1B5-75961BB4060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60688" y="2133600"/>
            <a:ext cx="1606974" cy="23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defRPr/>
            </a:pPr>
            <a:r>
              <a:rPr lang="en-US" sz="1600" b="1" kern="0" dirty="0">
                <a:solidFill>
                  <a:sysClr val="window" lastClr="FFFFFF"/>
                </a:solidFill>
                <a:latin typeface="Calibri"/>
              </a:rPr>
              <a:t>Y = Discrete</a:t>
            </a:r>
          </a:p>
        </p:txBody>
      </p:sp>
      <p:sp>
        <p:nvSpPr>
          <p:cNvPr id="30" name="Rectangle 7">
            <a:extLst>
              <a:ext uri="{FF2B5EF4-FFF2-40B4-BE49-F238E27FC236}">
                <a16:creationId xmlns:a16="http://schemas.microsoft.com/office/drawing/2014/main" id="{8EC7E1CD-6FB3-405E-B92E-BE6ED93742E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46281" y="3227527"/>
            <a:ext cx="1061811" cy="469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defRPr/>
            </a:pPr>
            <a:r>
              <a:rPr lang="en-US" sz="1600" b="1" kern="0" dirty="0">
                <a:solidFill>
                  <a:sysClr val="window" lastClr="FFFFFF"/>
                </a:solidFill>
                <a:latin typeface="Calibri"/>
              </a:rPr>
              <a:t>X = Single &amp; Discrete</a:t>
            </a:r>
          </a:p>
        </p:txBody>
      </p:sp>
      <p:sp>
        <p:nvSpPr>
          <p:cNvPr id="31" name="Rectangle 8">
            <a:extLst>
              <a:ext uri="{FF2B5EF4-FFF2-40B4-BE49-F238E27FC236}">
                <a16:creationId xmlns:a16="http://schemas.microsoft.com/office/drawing/2014/main" id="{198A5A8F-AE8C-41FA-B3AB-1E8AAE10FD0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11985" y="4185825"/>
            <a:ext cx="1128946" cy="70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defRPr/>
            </a:pPr>
            <a:r>
              <a:rPr lang="en-US" sz="1600" b="1" kern="0" dirty="0">
                <a:solidFill>
                  <a:sysClr val="window" lastClr="FFFFFF"/>
                </a:solidFill>
                <a:latin typeface="Calibri"/>
              </a:rPr>
              <a:t>Simple Logistic Regression</a:t>
            </a:r>
          </a:p>
        </p:txBody>
      </p:sp>
      <p:sp>
        <p:nvSpPr>
          <p:cNvPr id="32" name="Freeform 7">
            <a:extLst>
              <a:ext uri="{FF2B5EF4-FFF2-40B4-BE49-F238E27FC236}">
                <a16:creationId xmlns:a16="http://schemas.microsoft.com/office/drawing/2014/main" id="{4B0F3F7A-AC08-465D-ACBF-E3110FCF88A3}"/>
              </a:ext>
            </a:extLst>
          </p:cNvPr>
          <p:cNvSpPr>
            <a:spLocks/>
          </p:cNvSpPr>
          <p:nvPr/>
        </p:nvSpPr>
        <p:spPr bwMode="blackWhite">
          <a:xfrm>
            <a:off x="5835653" y="2653135"/>
            <a:ext cx="2241547" cy="1081103"/>
          </a:xfrm>
          <a:custGeom>
            <a:avLst/>
            <a:gdLst>
              <a:gd name="T0" fmla="*/ 669 w 2690"/>
              <a:gd name="T1" fmla="*/ 1491 h 1505"/>
              <a:gd name="T2" fmla="*/ 790 w 2690"/>
              <a:gd name="T3" fmla="*/ 1458 h 1505"/>
              <a:gd name="T4" fmla="*/ 909 w 2690"/>
              <a:gd name="T5" fmla="*/ 1415 h 1505"/>
              <a:gd name="T6" fmla="*/ 1024 w 2690"/>
              <a:gd name="T7" fmla="*/ 1361 h 1505"/>
              <a:gd name="T8" fmla="*/ 1137 w 2690"/>
              <a:gd name="T9" fmla="*/ 1296 h 1505"/>
              <a:gd name="T10" fmla="*/ 1244 w 2690"/>
              <a:gd name="T11" fmla="*/ 1223 h 1505"/>
              <a:gd name="T12" fmla="*/ 1346 w 2690"/>
              <a:gd name="T13" fmla="*/ 1140 h 1505"/>
              <a:gd name="T14" fmla="*/ 1441 w 2690"/>
              <a:gd name="T15" fmla="*/ 1049 h 1505"/>
              <a:gd name="T16" fmla="*/ 1529 w 2690"/>
              <a:gd name="T17" fmla="*/ 951 h 1505"/>
              <a:gd name="T18" fmla="*/ 1609 w 2690"/>
              <a:gd name="T19" fmla="*/ 846 h 1505"/>
              <a:gd name="T20" fmla="*/ 1680 w 2690"/>
              <a:gd name="T21" fmla="*/ 735 h 1505"/>
              <a:gd name="T22" fmla="*/ 1723 w 2690"/>
              <a:gd name="T23" fmla="*/ 673 h 1505"/>
              <a:gd name="T24" fmla="*/ 1770 w 2690"/>
              <a:gd name="T25" fmla="*/ 614 h 1505"/>
              <a:gd name="T26" fmla="*/ 1819 w 2690"/>
              <a:gd name="T27" fmla="*/ 559 h 1505"/>
              <a:gd name="T28" fmla="*/ 1870 w 2690"/>
              <a:gd name="T29" fmla="*/ 510 h 1505"/>
              <a:gd name="T30" fmla="*/ 1922 w 2690"/>
              <a:gd name="T31" fmla="*/ 468 h 1505"/>
              <a:gd name="T32" fmla="*/ 1972 w 2690"/>
              <a:gd name="T33" fmla="*/ 433 h 1505"/>
              <a:gd name="T34" fmla="*/ 2020 w 2690"/>
              <a:gd name="T35" fmla="*/ 407 h 1505"/>
              <a:gd name="T36" fmla="*/ 2065 w 2690"/>
              <a:gd name="T37" fmla="*/ 389 h 1505"/>
              <a:gd name="T38" fmla="*/ 2155 w 2690"/>
              <a:gd name="T39" fmla="*/ 371 h 1505"/>
              <a:gd name="T40" fmla="*/ 2295 w 2690"/>
              <a:gd name="T41" fmla="*/ 351 h 1505"/>
              <a:gd name="T42" fmla="*/ 2435 w 2690"/>
              <a:gd name="T43" fmla="*/ 343 h 1505"/>
              <a:gd name="T44" fmla="*/ 2546 w 2690"/>
              <a:gd name="T45" fmla="*/ 379 h 1505"/>
              <a:gd name="T46" fmla="*/ 2621 w 2690"/>
              <a:gd name="T47" fmla="*/ 452 h 1505"/>
              <a:gd name="T48" fmla="*/ 2689 w 2690"/>
              <a:gd name="T49" fmla="*/ 532 h 1505"/>
              <a:gd name="T50" fmla="*/ 2494 w 2690"/>
              <a:gd name="T51" fmla="*/ 119 h 1505"/>
              <a:gd name="T52" fmla="*/ 2173 w 2690"/>
              <a:gd name="T53" fmla="*/ 37 h 1505"/>
              <a:gd name="T54" fmla="*/ 2157 w 2690"/>
              <a:gd name="T55" fmla="*/ 97 h 1505"/>
              <a:gd name="T56" fmla="*/ 2056 w 2690"/>
              <a:gd name="T57" fmla="*/ 88 h 1505"/>
              <a:gd name="T58" fmla="*/ 1955 w 2690"/>
              <a:gd name="T59" fmla="*/ 88 h 1505"/>
              <a:gd name="T60" fmla="*/ 1854 w 2690"/>
              <a:gd name="T61" fmla="*/ 97 h 1505"/>
              <a:gd name="T62" fmla="*/ 1755 w 2690"/>
              <a:gd name="T63" fmla="*/ 115 h 1505"/>
              <a:gd name="T64" fmla="*/ 1658 w 2690"/>
              <a:gd name="T65" fmla="*/ 140 h 1505"/>
              <a:gd name="T66" fmla="*/ 1586 w 2690"/>
              <a:gd name="T67" fmla="*/ 165 h 1505"/>
              <a:gd name="T68" fmla="*/ 1519 w 2690"/>
              <a:gd name="T69" fmla="*/ 199 h 1505"/>
              <a:gd name="T70" fmla="*/ 1459 w 2690"/>
              <a:gd name="T71" fmla="*/ 242 h 1505"/>
              <a:gd name="T72" fmla="*/ 1407 w 2690"/>
              <a:gd name="T73" fmla="*/ 293 h 1505"/>
              <a:gd name="T74" fmla="*/ 1365 w 2690"/>
              <a:gd name="T75" fmla="*/ 349 h 1505"/>
              <a:gd name="T76" fmla="*/ 1333 w 2690"/>
              <a:gd name="T77" fmla="*/ 411 h 1505"/>
              <a:gd name="T78" fmla="*/ 1283 w 2690"/>
              <a:gd name="T79" fmla="*/ 522 h 1505"/>
              <a:gd name="T80" fmla="*/ 1222 w 2690"/>
              <a:gd name="T81" fmla="*/ 629 h 1505"/>
              <a:gd name="T82" fmla="*/ 1150 w 2690"/>
              <a:gd name="T83" fmla="*/ 731 h 1505"/>
              <a:gd name="T84" fmla="*/ 1068 w 2690"/>
              <a:gd name="T85" fmla="*/ 827 h 1505"/>
              <a:gd name="T86" fmla="*/ 977 w 2690"/>
              <a:gd name="T87" fmla="*/ 916 h 1505"/>
              <a:gd name="T88" fmla="*/ 876 w 2690"/>
              <a:gd name="T89" fmla="*/ 998 h 1505"/>
              <a:gd name="T90" fmla="*/ 768 w 2690"/>
              <a:gd name="T91" fmla="*/ 1072 h 1505"/>
              <a:gd name="T92" fmla="*/ 652 w 2690"/>
              <a:gd name="T93" fmla="*/ 1137 h 1505"/>
              <a:gd name="T94" fmla="*/ 530 w 2690"/>
              <a:gd name="T95" fmla="*/ 1193 h 1505"/>
              <a:gd name="T96" fmla="*/ 403 w 2690"/>
              <a:gd name="T97" fmla="*/ 1239 h 1505"/>
              <a:gd name="T98" fmla="*/ 272 w 2690"/>
              <a:gd name="T99" fmla="*/ 1275 h 1505"/>
              <a:gd name="T100" fmla="*/ 137 w 2690"/>
              <a:gd name="T101" fmla="*/ 1301 h 1505"/>
              <a:gd name="T102" fmla="*/ 0 w 2690"/>
              <a:gd name="T103" fmla="*/ 1317 h 150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690"/>
              <a:gd name="T157" fmla="*/ 0 h 1505"/>
              <a:gd name="T158" fmla="*/ 2690 w 2690"/>
              <a:gd name="T159" fmla="*/ 1505 h 150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690" h="1505">
                <a:moveTo>
                  <a:pt x="608" y="1504"/>
                </a:moveTo>
                <a:lnTo>
                  <a:pt x="669" y="1491"/>
                </a:lnTo>
                <a:lnTo>
                  <a:pt x="730" y="1476"/>
                </a:lnTo>
                <a:lnTo>
                  <a:pt x="790" y="1458"/>
                </a:lnTo>
                <a:lnTo>
                  <a:pt x="850" y="1438"/>
                </a:lnTo>
                <a:lnTo>
                  <a:pt x="909" y="1415"/>
                </a:lnTo>
                <a:lnTo>
                  <a:pt x="968" y="1389"/>
                </a:lnTo>
                <a:lnTo>
                  <a:pt x="1024" y="1361"/>
                </a:lnTo>
                <a:lnTo>
                  <a:pt x="1081" y="1330"/>
                </a:lnTo>
                <a:lnTo>
                  <a:pt x="1137" y="1296"/>
                </a:lnTo>
                <a:lnTo>
                  <a:pt x="1191" y="1261"/>
                </a:lnTo>
                <a:lnTo>
                  <a:pt x="1244" y="1223"/>
                </a:lnTo>
                <a:lnTo>
                  <a:pt x="1296" y="1182"/>
                </a:lnTo>
                <a:lnTo>
                  <a:pt x="1346" y="1140"/>
                </a:lnTo>
                <a:lnTo>
                  <a:pt x="1395" y="1096"/>
                </a:lnTo>
                <a:lnTo>
                  <a:pt x="1441" y="1049"/>
                </a:lnTo>
                <a:lnTo>
                  <a:pt x="1486" y="1001"/>
                </a:lnTo>
                <a:lnTo>
                  <a:pt x="1529" y="951"/>
                </a:lnTo>
                <a:lnTo>
                  <a:pt x="1570" y="899"/>
                </a:lnTo>
                <a:lnTo>
                  <a:pt x="1609" y="846"/>
                </a:lnTo>
                <a:lnTo>
                  <a:pt x="1646" y="791"/>
                </a:lnTo>
                <a:lnTo>
                  <a:pt x="1680" y="735"/>
                </a:lnTo>
                <a:lnTo>
                  <a:pt x="1701" y="704"/>
                </a:lnTo>
                <a:lnTo>
                  <a:pt x="1723" y="673"/>
                </a:lnTo>
                <a:lnTo>
                  <a:pt x="1746" y="643"/>
                </a:lnTo>
                <a:lnTo>
                  <a:pt x="1770" y="614"/>
                </a:lnTo>
                <a:lnTo>
                  <a:pt x="1794" y="586"/>
                </a:lnTo>
                <a:lnTo>
                  <a:pt x="1819" y="559"/>
                </a:lnTo>
                <a:lnTo>
                  <a:pt x="1845" y="534"/>
                </a:lnTo>
                <a:lnTo>
                  <a:pt x="1870" y="510"/>
                </a:lnTo>
                <a:lnTo>
                  <a:pt x="1896" y="488"/>
                </a:lnTo>
                <a:lnTo>
                  <a:pt x="1922" y="468"/>
                </a:lnTo>
                <a:lnTo>
                  <a:pt x="1947" y="449"/>
                </a:lnTo>
                <a:lnTo>
                  <a:pt x="1972" y="433"/>
                </a:lnTo>
                <a:lnTo>
                  <a:pt x="1996" y="418"/>
                </a:lnTo>
                <a:lnTo>
                  <a:pt x="2020" y="407"/>
                </a:lnTo>
                <a:lnTo>
                  <a:pt x="2043" y="396"/>
                </a:lnTo>
                <a:lnTo>
                  <a:pt x="2065" y="389"/>
                </a:lnTo>
                <a:lnTo>
                  <a:pt x="2086" y="384"/>
                </a:lnTo>
                <a:lnTo>
                  <a:pt x="2155" y="371"/>
                </a:lnTo>
                <a:lnTo>
                  <a:pt x="2225" y="360"/>
                </a:lnTo>
                <a:lnTo>
                  <a:pt x="2295" y="351"/>
                </a:lnTo>
                <a:lnTo>
                  <a:pt x="2365" y="346"/>
                </a:lnTo>
                <a:lnTo>
                  <a:pt x="2435" y="343"/>
                </a:lnTo>
                <a:lnTo>
                  <a:pt x="2506" y="343"/>
                </a:lnTo>
                <a:lnTo>
                  <a:pt x="2546" y="379"/>
                </a:lnTo>
                <a:lnTo>
                  <a:pt x="2584" y="415"/>
                </a:lnTo>
                <a:lnTo>
                  <a:pt x="2621" y="452"/>
                </a:lnTo>
                <a:lnTo>
                  <a:pt x="2656" y="491"/>
                </a:lnTo>
                <a:lnTo>
                  <a:pt x="2689" y="532"/>
                </a:lnTo>
                <a:lnTo>
                  <a:pt x="2654" y="162"/>
                </a:lnTo>
                <a:lnTo>
                  <a:pt x="2494" y="119"/>
                </a:lnTo>
                <a:lnTo>
                  <a:pt x="2334" y="76"/>
                </a:lnTo>
                <a:lnTo>
                  <a:pt x="2173" y="37"/>
                </a:lnTo>
                <a:lnTo>
                  <a:pt x="2011" y="0"/>
                </a:lnTo>
                <a:lnTo>
                  <a:pt x="2157" y="97"/>
                </a:lnTo>
                <a:lnTo>
                  <a:pt x="2107" y="91"/>
                </a:lnTo>
                <a:lnTo>
                  <a:pt x="2056" y="88"/>
                </a:lnTo>
                <a:lnTo>
                  <a:pt x="2006" y="87"/>
                </a:lnTo>
                <a:lnTo>
                  <a:pt x="1955" y="88"/>
                </a:lnTo>
                <a:lnTo>
                  <a:pt x="1904" y="91"/>
                </a:lnTo>
                <a:lnTo>
                  <a:pt x="1854" y="97"/>
                </a:lnTo>
                <a:lnTo>
                  <a:pt x="1804" y="105"/>
                </a:lnTo>
                <a:lnTo>
                  <a:pt x="1755" y="115"/>
                </a:lnTo>
                <a:lnTo>
                  <a:pt x="1706" y="126"/>
                </a:lnTo>
                <a:lnTo>
                  <a:pt x="1658" y="140"/>
                </a:lnTo>
                <a:lnTo>
                  <a:pt x="1621" y="152"/>
                </a:lnTo>
                <a:lnTo>
                  <a:pt x="1586" y="165"/>
                </a:lnTo>
                <a:lnTo>
                  <a:pt x="1552" y="181"/>
                </a:lnTo>
                <a:lnTo>
                  <a:pt x="1519" y="199"/>
                </a:lnTo>
                <a:lnTo>
                  <a:pt x="1488" y="220"/>
                </a:lnTo>
                <a:lnTo>
                  <a:pt x="1459" y="242"/>
                </a:lnTo>
                <a:lnTo>
                  <a:pt x="1432" y="266"/>
                </a:lnTo>
                <a:lnTo>
                  <a:pt x="1407" y="293"/>
                </a:lnTo>
                <a:lnTo>
                  <a:pt x="1385" y="320"/>
                </a:lnTo>
                <a:lnTo>
                  <a:pt x="1365" y="349"/>
                </a:lnTo>
                <a:lnTo>
                  <a:pt x="1348" y="379"/>
                </a:lnTo>
                <a:lnTo>
                  <a:pt x="1333" y="411"/>
                </a:lnTo>
                <a:lnTo>
                  <a:pt x="1310" y="467"/>
                </a:lnTo>
                <a:lnTo>
                  <a:pt x="1283" y="522"/>
                </a:lnTo>
                <a:lnTo>
                  <a:pt x="1254" y="576"/>
                </a:lnTo>
                <a:lnTo>
                  <a:pt x="1222" y="629"/>
                </a:lnTo>
                <a:lnTo>
                  <a:pt x="1187" y="681"/>
                </a:lnTo>
                <a:lnTo>
                  <a:pt x="1150" y="731"/>
                </a:lnTo>
                <a:lnTo>
                  <a:pt x="1110" y="779"/>
                </a:lnTo>
                <a:lnTo>
                  <a:pt x="1068" y="827"/>
                </a:lnTo>
                <a:lnTo>
                  <a:pt x="1024" y="872"/>
                </a:lnTo>
                <a:lnTo>
                  <a:pt x="977" y="916"/>
                </a:lnTo>
                <a:lnTo>
                  <a:pt x="928" y="958"/>
                </a:lnTo>
                <a:lnTo>
                  <a:pt x="876" y="998"/>
                </a:lnTo>
                <a:lnTo>
                  <a:pt x="823" y="1036"/>
                </a:lnTo>
                <a:lnTo>
                  <a:pt x="768" y="1072"/>
                </a:lnTo>
                <a:lnTo>
                  <a:pt x="710" y="1105"/>
                </a:lnTo>
                <a:lnTo>
                  <a:pt x="652" y="1137"/>
                </a:lnTo>
                <a:lnTo>
                  <a:pt x="592" y="1166"/>
                </a:lnTo>
                <a:lnTo>
                  <a:pt x="530" y="1193"/>
                </a:lnTo>
                <a:lnTo>
                  <a:pt x="467" y="1217"/>
                </a:lnTo>
                <a:lnTo>
                  <a:pt x="403" y="1239"/>
                </a:lnTo>
                <a:lnTo>
                  <a:pt x="338" y="1258"/>
                </a:lnTo>
                <a:lnTo>
                  <a:pt x="272" y="1275"/>
                </a:lnTo>
                <a:lnTo>
                  <a:pt x="204" y="1290"/>
                </a:lnTo>
                <a:lnTo>
                  <a:pt x="137" y="1301"/>
                </a:lnTo>
                <a:lnTo>
                  <a:pt x="69" y="1310"/>
                </a:lnTo>
                <a:lnTo>
                  <a:pt x="0" y="1317"/>
                </a:lnTo>
                <a:lnTo>
                  <a:pt x="608" y="1504"/>
                </a:lnTo>
              </a:path>
            </a:pathLst>
          </a:custGeom>
          <a:solidFill>
            <a:srgbClr val="00A1DE"/>
          </a:solidFill>
          <a:ln w="9525" cap="rnd" cmpd="sng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200" ker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C154AD70-A6A6-4B32-B941-3BBB57E80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4792" y="2383229"/>
            <a:ext cx="990600" cy="791755"/>
          </a:xfrm>
          <a:prstGeom prst="rect">
            <a:avLst/>
          </a:prstGeom>
          <a:solidFill>
            <a:srgbClr val="00A1D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rgbClr val="000000"/>
              </a:buClr>
              <a:buSzPct val="80000"/>
              <a:defRPr/>
            </a:pPr>
            <a:r>
              <a:rPr lang="de-DE" b="1" kern="0" dirty="0">
                <a:solidFill>
                  <a:sysClr val="window" lastClr="FFFFFF"/>
                </a:solidFill>
                <a:latin typeface="Calibri"/>
              </a:rPr>
              <a:t>Create Dummy Variable</a:t>
            </a:r>
          </a:p>
        </p:txBody>
      </p:sp>
    </p:spTree>
    <p:extLst>
      <p:ext uri="{BB962C8B-B14F-4D97-AF65-F5344CB8AC3E}">
        <p14:creationId xmlns:p14="http://schemas.microsoft.com/office/powerpoint/2010/main" val="190277563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2.xml><?xml version="1.0" encoding="utf-8"?>
<a:theme xmlns:a="http://schemas.openxmlformats.org/drawingml/2006/main" name="1_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US Deloitte Color">
    <a:dk1>
      <a:sysClr val="windowText" lastClr="000000"/>
    </a:dk1>
    <a:lt1>
      <a:sysClr val="window" lastClr="FFFFFF"/>
    </a:lt1>
    <a:dk2>
      <a:srgbClr val="313131"/>
    </a:dk2>
    <a:lt2>
      <a:srgbClr val="8C8C8C"/>
    </a:lt2>
    <a:accent1>
      <a:srgbClr val="002776"/>
    </a:accent1>
    <a:accent2>
      <a:srgbClr val="81BC00"/>
    </a:accent2>
    <a:accent3>
      <a:srgbClr val="00A1DE"/>
    </a:accent3>
    <a:accent4>
      <a:srgbClr val="3C8A2E"/>
    </a:accent4>
    <a:accent5>
      <a:srgbClr val="72C7E7"/>
    </a:accent5>
    <a:accent6>
      <a:srgbClr val="BDD2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29</TotalTime>
  <Words>961</Words>
  <Application>Microsoft Office PowerPoint</Application>
  <PresentationFormat>On-screen Show (4:3)</PresentationFormat>
  <Paragraphs>167</Paragraphs>
  <Slides>22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Arial Rounded MT Bold</vt:lpstr>
      <vt:lpstr>Calibri</vt:lpstr>
      <vt:lpstr>Times New Roman</vt:lpstr>
      <vt:lpstr>Deloitte_US_Onscreen</vt:lpstr>
      <vt:lpstr>1_Deloitte_US_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ssumptions in Logistic Regression</vt:lpstr>
      <vt:lpstr>Steps in Logistic Regr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zing Attribute Data</dc:title>
  <dc:creator>User 2</dc:creator>
  <cp:lastModifiedBy>sharat chandra</cp:lastModifiedBy>
  <cp:revision>77</cp:revision>
  <dcterms:created xsi:type="dcterms:W3CDTF">2015-08-27T06:53:52Z</dcterms:created>
  <dcterms:modified xsi:type="dcterms:W3CDTF">2019-06-01T01:17:56Z</dcterms:modified>
</cp:coreProperties>
</file>